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3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69" r:id="rId3"/>
    <p:sldId id="275" r:id="rId4"/>
    <p:sldId id="271" r:id="rId5"/>
    <p:sldId id="276" r:id="rId6"/>
    <p:sldId id="277" r:id="rId7"/>
    <p:sldId id="278" r:id="rId8"/>
    <p:sldId id="279" r:id="rId9"/>
    <p:sldId id="280" r:id="rId10"/>
    <p:sldId id="261" r:id="rId11"/>
  </p:sldIdLst>
  <p:sldSz cx="12192000" cy="6858000"/>
  <p:notesSz cx="6858000" cy="9144000"/>
  <p:custDataLst>
    <p:tags r:id="rId1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19787D"/>
    <a:srgbClr val="3BD7BD"/>
    <a:srgbClr val="46B2FC"/>
    <a:srgbClr val="A8EEE2"/>
    <a:srgbClr val="C3F3EB"/>
    <a:srgbClr val="F5BB17"/>
    <a:srgbClr val="F9DB59"/>
    <a:srgbClr val="EEA67A"/>
    <a:srgbClr val="0178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102" d="100"/>
          <a:sy n="102" d="100"/>
        </p:scale>
        <p:origin x="138" y="37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19/7/2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7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69925" y="4191307"/>
            <a:ext cx="5454512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accent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69925" y="1130300"/>
            <a:ext cx="5454512" cy="3025834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27115"/>
            <a:ext cx="545451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23386"/>
            <a:ext cx="545451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508" name="任意多边形: 形状 507">
            <a:extLst>
              <a:ext uri="{FF2B5EF4-FFF2-40B4-BE49-F238E27FC236}">
                <a16:creationId xmlns:a16="http://schemas.microsoft.com/office/drawing/2014/main" id="{A779BD46-68F6-4D8D-93F8-CF94906C9C6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06848" y="174489"/>
            <a:ext cx="5899150" cy="4169030"/>
          </a:xfrm>
          <a:custGeom>
            <a:avLst/>
            <a:gdLst>
              <a:gd name="connsiteX0" fmla="*/ 4950105 w 5899150"/>
              <a:gd name="connsiteY0" fmla="*/ 2048130 h 4169030"/>
              <a:gd name="connsiteX1" fmla="*/ 4950105 w 5899150"/>
              <a:gd name="connsiteY1" fmla="*/ 3740405 h 4169030"/>
              <a:gd name="connsiteX2" fmla="*/ 4950105 w 5899150"/>
              <a:gd name="connsiteY2" fmla="*/ 2048130 h 4169030"/>
              <a:gd name="connsiteX3" fmla="*/ 2024528 w 5899150"/>
              <a:gd name="connsiteY3" fmla="*/ 1949705 h 4169030"/>
              <a:gd name="connsiteX4" fmla="*/ 2024528 w 5899150"/>
              <a:gd name="connsiteY4" fmla="*/ 3000581 h 4169030"/>
              <a:gd name="connsiteX5" fmla="*/ 2000342 w 5899150"/>
              <a:gd name="connsiteY5" fmla="*/ 3592768 h 4169030"/>
              <a:gd name="connsiteX6" fmla="*/ 1979612 w 5899150"/>
              <a:gd name="connsiteY6" fmla="*/ 3123811 h 4169030"/>
              <a:gd name="connsiteX7" fmla="*/ 2000342 w 5899150"/>
              <a:gd name="connsiteY7" fmla="*/ 2528200 h 4169030"/>
              <a:gd name="connsiteX8" fmla="*/ 2024528 w 5899150"/>
              <a:gd name="connsiteY8" fmla="*/ 1949705 h 4169030"/>
              <a:gd name="connsiteX9" fmla="*/ 157535 w 5899150"/>
              <a:gd name="connsiteY9" fmla="*/ 1541717 h 4169030"/>
              <a:gd name="connsiteX10" fmla="*/ 184429 w 5899150"/>
              <a:gd name="connsiteY10" fmla="*/ 1716447 h 4169030"/>
              <a:gd name="connsiteX11" fmla="*/ 154174 w 5899150"/>
              <a:gd name="connsiteY11" fmla="*/ 2884742 h 4169030"/>
              <a:gd name="connsiteX12" fmla="*/ 154174 w 5899150"/>
              <a:gd name="connsiteY12" fmla="*/ 2353699 h 4169030"/>
              <a:gd name="connsiteX13" fmla="*/ 154174 w 5899150"/>
              <a:gd name="connsiteY13" fmla="*/ 1884325 h 4169030"/>
              <a:gd name="connsiteX14" fmla="*/ 157535 w 5899150"/>
              <a:gd name="connsiteY14" fmla="*/ 1541717 h 4169030"/>
              <a:gd name="connsiteX15" fmla="*/ 99236 w 5899150"/>
              <a:gd name="connsiteY15" fmla="*/ 1144845 h 4169030"/>
              <a:gd name="connsiteX16" fmla="*/ 112924 w 5899150"/>
              <a:gd name="connsiteY16" fmla="*/ 1805849 h 4169030"/>
              <a:gd name="connsiteX17" fmla="*/ 106080 w 5899150"/>
              <a:gd name="connsiteY17" fmla="*/ 3405277 h 4169030"/>
              <a:gd name="connsiteX18" fmla="*/ 153987 w 5899150"/>
              <a:gd name="connsiteY18" fmla="*/ 2984014 h 4169030"/>
              <a:gd name="connsiteX19" fmla="*/ 153987 w 5899150"/>
              <a:gd name="connsiteY19" fmla="*/ 4169030 h 4169030"/>
              <a:gd name="connsiteX20" fmla="*/ 0 w 5899150"/>
              <a:gd name="connsiteY20" fmla="*/ 4169030 h 4169030"/>
              <a:gd name="connsiteX21" fmla="*/ 0 w 5899150"/>
              <a:gd name="connsiteY21" fmla="*/ 1312665 h 4169030"/>
              <a:gd name="connsiteX22" fmla="*/ 5899150 w 5899150"/>
              <a:gd name="connsiteY22" fmla="*/ 914655 h 4169030"/>
              <a:gd name="connsiteX23" fmla="*/ 5899150 w 5899150"/>
              <a:gd name="connsiteY23" fmla="*/ 1041655 h 4169030"/>
              <a:gd name="connsiteX24" fmla="*/ 5899150 w 5899150"/>
              <a:gd name="connsiteY24" fmla="*/ 3846767 h 4169030"/>
              <a:gd name="connsiteX25" fmla="*/ 5867400 w 5899150"/>
              <a:gd name="connsiteY25" fmla="*/ 3846767 h 4169030"/>
              <a:gd name="connsiteX26" fmla="*/ 5867400 w 5899150"/>
              <a:gd name="connsiteY26" fmla="*/ 1048005 h 4169030"/>
              <a:gd name="connsiteX27" fmla="*/ 5651500 w 5899150"/>
              <a:gd name="connsiteY27" fmla="*/ 636843 h 4169030"/>
              <a:gd name="connsiteX28" fmla="*/ 5778189 w 5899150"/>
              <a:gd name="connsiteY28" fmla="*/ 914329 h 4169030"/>
              <a:gd name="connsiteX29" fmla="*/ 5805581 w 5899150"/>
              <a:gd name="connsiteY29" fmla="*/ 1479577 h 4169030"/>
              <a:gd name="connsiteX30" fmla="*/ 5778189 w 5899150"/>
              <a:gd name="connsiteY30" fmla="*/ 1948904 h 4169030"/>
              <a:gd name="connsiteX31" fmla="*/ 5812429 w 5899150"/>
              <a:gd name="connsiteY31" fmla="*/ 2548410 h 4169030"/>
              <a:gd name="connsiteX32" fmla="*/ 5812429 w 5899150"/>
              <a:gd name="connsiteY32" fmla="*/ 3846768 h 4169030"/>
              <a:gd name="connsiteX33" fmla="*/ 5651500 w 5899150"/>
              <a:gd name="connsiteY33" fmla="*/ 3846768 h 4169030"/>
              <a:gd name="connsiteX34" fmla="*/ 5651500 w 5899150"/>
              <a:gd name="connsiteY34" fmla="*/ 636843 h 4169030"/>
              <a:gd name="connsiteX35" fmla="*/ 3798887 w 5899150"/>
              <a:gd name="connsiteY35" fmla="*/ 0 h 4169030"/>
              <a:gd name="connsiteX36" fmla="*/ 3887787 w 5899150"/>
              <a:gd name="connsiteY36" fmla="*/ 0 h 4169030"/>
              <a:gd name="connsiteX37" fmla="*/ 3887787 w 5899150"/>
              <a:gd name="connsiteY37" fmla="*/ 1541995 h 4169030"/>
              <a:gd name="connsiteX38" fmla="*/ 3892017 w 5899150"/>
              <a:gd name="connsiteY38" fmla="*/ 1539449 h 4169030"/>
              <a:gd name="connsiteX39" fmla="*/ 3911699 w 5899150"/>
              <a:gd name="connsiteY39" fmla="*/ 1534298 h 4169030"/>
              <a:gd name="connsiteX40" fmla="*/ 4010860 w 5899150"/>
              <a:gd name="connsiteY40" fmla="*/ 1603357 h 4169030"/>
              <a:gd name="connsiteX41" fmla="*/ 4017962 w 5899150"/>
              <a:gd name="connsiteY41" fmla="*/ 1605637 h 4169030"/>
              <a:gd name="connsiteX42" fmla="*/ 4017962 w 5899150"/>
              <a:gd name="connsiteY42" fmla="*/ 0 h 4169030"/>
              <a:gd name="connsiteX43" fmla="*/ 4179887 w 5899150"/>
              <a:gd name="connsiteY43" fmla="*/ 0 h 4169030"/>
              <a:gd name="connsiteX44" fmla="*/ 4179887 w 5899150"/>
              <a:gd name="connsiteY44" fmla="*/ 1881563 h 4169030"/>
              <a:gd name="connsiteX45" fmla="*/ 4188820 w 5899150"/>
              <a:gd name="connsiteY45" fmla="*/ 1882372 h 4169030"/>
              <a:gd name="connsiteX46" fmla="*/ 4268788 w 5899150"/>
              <a:gd name="connsiteY46" fmla="*/ 1870396 h 4169030"/>
              <a:gd name="connsiteX47" fmla="*/ 4298950 w 5899150"/>
              <a:gd name="connsiteY47" fmla="*/ 1847301 h 4169030"/>
              <a:gd name="connsiteX48" fmla="*/ 4298950 w 5899150"/>
              <a:gd name="connsiteY48" fmla="*/ 0 h 4169030"/>
              <a:gd name="connsiteX49" fmla="*/ 4384675 w 5899150"/>
              <a:gd name="connsiteY49" fmla="*/ 0 h 4169030"/>
              <a:gd name="connsiteX50" fmla="*/ 4384675 w 5899150"/>
              <a:gd name="connsiteY50" fmla="*/ 2129601 h 4169030"/>
              <a:gd name="connsiteX51" fmla="*/ 4386873 w 5899150"/>
              <a:gd name="connsiteY51" fmla="*/ 2131428 h 4169030"/>
              <a:gd name="connsiteX52" fmla="*/ 4437734 w 5899150"/>
              <a:gd name="connsiteY52" fmla="*/ 2184922 h 4169030"/>
              <a:gd name="connsiteX53" fmla="*/ 4487862 w 5899150"/>
              <a:gd name="connsiteY53" fmla="*/ 2256236 h 4169030"/>
              <a:gd name="connsiteX54" fmla="*/ 4487862 w 5899150"/>
              <a:gd name="connsiteY54" fmla="*/ 0 h 4169030"/>
              <a:gd name="connsiteX55" fmla="*/ 4627562 w 5899150"/>
              <a:gd name="connsiteY55" fmla="*/ 0 h 4169030"/>
              <a:gd name="connsiteX56" fmla="*/ 4627562 w 5899150"/>
              <a:gd name="connsiteY56" fmla="*/ 2367529 h 4169030"/>
              <a:gd name="connsiteX57" fmla="*/ 4660412 w 5899150"/>
              <a:gd name="connsiteY57" fmla="*/ 2382977 h 4169030"/>
              <a:gd name="connsiteX58" fmla="*/ 4709990 w 5899150"/>
              <a:gd name="connsiteY58" fmla="*/ 2415299 h 4169030"/>
              <a:gd name="connsiteX59" fmla="*/ 4750700 w 5899150"/>
              <a:gd name="connsiteY59" fmla="*/ 2462736 h 4169030"/>
              <a:gd name="connsiteX60" fmla="*/ 4775200 w 5899150"/>
              <a:gd name="connsiteY60" fmla="*/ 2499388 h 4169030"/>
              <a:gd name="connsiteX61" fmla="*/ 4775200 w 5899150"/>
              <a:gd name="connsiteY61" fmla="*/ 0 h 4169030"/>
              <a:gd name="connsiteX62" fmla="*/ 4902200 w 5899150"/>
              <a:gd name="connsiteY62" fmla="*/ 0 h 4169030"/>
              <a:gd name="connsiteX63" fmla="*/ 4902200 w 5899150"/>
              <a:gd name="connsiteY63" fmla="*/ 3994405 h 4169030"/>
              <a:gd name="connsiteX64" fmla="*/ 4775200 w 5899150"/>
              <a:gd name="connsiteY64" fmla="*/ 3994405 h 4169030"/>
              <a:gd name="connsiteX65" fmla="*/ 4775200 w 5899150"/>
              <a:gd name="connsiteY65" fmla="*/ 2685763 h 4169030"/>
              <a:gd name="connsiteX66" fmla="*/ 4774956 w 5899150"/>
              <a:gd name="connsiteY66" fmla="*/ 2686305 h 4169030"/>
              <a:gd name="connsiteX67" fmla="*/ 4658462 w 5899150"/>
              <a:gd name="connsiteY67" fmla="*/ 2441061 h 4169030"/>
              <a:gd name="connsiteX68" fmla="*/ 4627562 w 5899150"/>
              <a:gd name="connsiteY68" fmla="*/ 2418260 h 4169030"/>
              <a:gd name="connsiteX69" fmla="*/ 4627562 w 5899150"/>
              <a:gd name="connsiteY69" fmla="*/ 4107118 h 4169030"/>
              <a:gd name="connsiteX70" fmla="*/ 4487862 w 5899150"/>
              <a:gd name="connsiteY70" fmla="*/ 4107118 h 4169030"/>
              <a:gd name="connsiteX71" fmla="*/ 4487862 w 5899150"/>
              <a:gd name="connsiteY71" fmla="*/ 2285838 h 4169030"/>
              <a:gd name="connsiteX72" fmla="*/ 4452266 w 5899150"/>
              <a:gd name="connsiteY72" fmla="*/ 2240774 h 4169030"/>
              <a:gd name="connsiteX73" fmla="*/ 4389705 w 5899150"/>
              <a:gd name="connsiteY73" fmla="*/ 2156138 h 4169030"/>
              <a:gd name="connsiteX74" fmla="*/ 4384675 w 5899150"/>
              <a:gd name="connsiteY74" fmla="*/ 2150695 h 4169030"/>
              <a:gd name="connsiteX75" fmla="*/ 4384675 w 5899150"/>
              <a:gd name="connsiteY75" fmla="*/ 3846768 h 4169030"/>
              <a:gd name="connsiteX76" fmla="*/ 4298950 w 5899150"/>
              <a:gd name="connsiteY76" fmla="*/ 3846768 h 4169030"/>
              <a:gd name="connsiteX77" fmla="*/ 4298950 w 5899150"/>
              <a:gd name="connsiteY77" fmla="*/ 1858615 h 4169030"/>
              <a:gd name="connsiteX78" fmla="*/ 4280403 w 5899150"/>
              <a:gd name="connsiteY78" fmla="*/ 1873164 h 4169030"/>
              <a:gd name="connsiteX79" fmla="*/ 4265362 w 5899150"/>
              <a:gd name="connsiteY79" fmla="*/ 1887429 h 4169030"/>
              <a:gd name="connsiteX80" fmla="*/ 4195992 w 5899150"/>
              <a:gd name="connsiteY80" fmla="*/ 1895094 h 4169030"/>
              <a:gd name="connsiteX81" fmla="*/ 4179887 w 5899150"/>
              <a:gd name="connsiteY81" fmla="*/ 1901618 h 4169030"/>
              <a:gd name="connsiteX82" fmla="*/ 4179887 w 5899150"/>
              <a:gd name="connsiteY82" fmla="*/ 4024568 h 4169030"/>
              <a:gd name="connsiteX83" fmla="*/ 4017962 w 5899150"/>
              <a:gd name="connsiteY83" fmla="*/ 4024568 h 4169030"/>
              <a:gd name="connsiteX84" fmla="*/ 4017962 w 5899150"/>
              <a:gd name="connsiteY84" fmla="*/ 1619253 h 4169030"/>
              <a:gd name="connsiteX85" fmla="*/ 4009630 w 5899150"/>
              <a:gd name="connsiteY85" fmla="*/ 1614733 h 4169030"/>
              <a:gd name="connsiteX86" fmla="*/ 3894584 w 5899150"/>
              <a:gd name="connsiteY86" fmla="*/ 1551469 h 4169030"/>
              <a:gd name="connsiteX87" fmla="*/ 3887787 w 5899150"/>
              <a:gd name="connsiteY87" fmla="*/ 1554608 h 4169030"/>
              <a:gd name="connsiteX88" fmla="*/ 3887787 w 5899150"/>
              <a:gd name="connsiteY88" fmla="*/ 4069018 h 4169030"/>
              <a:gd name="connsiteX89" fmla="*/ 3798887 w 5899150"/>
              <a:gd name="connsiteY89" fmla="*/ 4069018 h 4169030"/>
              <a:gd name="connsiteX90" fmla="*/ 3798887 w 5899150"/>
              <a:gd name="connsiteY90" fmla="*/ 2296407 h 4169030"/>
              <a:gd name="connsiteX91" fmla="*/ 3771415 w 5899150"/>
              <a:gd name="connsiteY91" fmla="*/ 2277758 h 4169030"/>
              <a:gd name="connsiteX92" fmla="*/ 3730624 w 5899150"/>
              <a:gd name="connsiteY92" fmla="*/ 2267659 h 4169030"/>
              <a:gd name="connsiteX93" fmla="*/ 3575843 w 5899150"/>
              <a:gd name="connsiteY93" fmla="*/ 2189418 h 4169030"/>
              <a:gd name="connsiteX94" fmla="*/ 3503612 w 5899150"/>
              <a:gd name="connsiteY94" fmla="*/ 2223436 h 4169030"/>
              <a:gd name="connsiteX95" fmla="*/ 3593041 w 5899150"/>
              <a:gd name="connsiteY95" fmla="*/ 2172409 h 4169030"/>
              <a:gd name="connsiteX96" fmla="*/ 3723745 w 5899150"/>
              <a:gd name="connsiteY96" fmla="*/ 2250650 h 4169030"/>
              <a:gd name="connsiteX97" fmla="*/ 3790387 w 5899150"/>
              <a:gd name="connsiteY97" fmla="*/ 2267659 h 4169030"/>
              <a:gd name="connsiteX98" fmla="*/ 3798887 w 5899150"/>
              <a:gd name="connsiteY98" fmla="*/ 2270909 h 4169030"/>
              <a:gd name="connsiteX99" fmla="*/ 2706687 w 5899150"/>
              <a:gd name="connsiteY99" fmla="*/ 0 h 4169030"/>
              <a:gd name="connsiteX100" fmla="*/ 2849562 w 5899150"/>
              <a:gd name="connsiteY100" fmla="*/ 0 h 4169030"/>
              <a:gd name="connsiteX101" fmla="*/ 2849562 w 5899150"/>
              <a:gd name="connsiteY101" fmla="*/ 2624099 h 4169030"/>
              <a:gd name="connsiteX102" fmla="*/ 2865098 w 5899150"/>
              <a:gd name="connsiteY102" fmla="*/ 2623913 h 4169030"/>
              <a:gd name="connsiteX103" fmla="*/ 2946590 w 5899150"/>
              <a:gd name="connsiteY103" fmla="*/ 2610370 h 4169030"/>
              <a:gd name="connsiteX104" fmla="*/ 3008312 w 5899150"/>
              <a:gd name="connsiteY104" fmla="*/ 2565655 h 4169030"/>
              <a:gd name="connsiteX105" fmla="*/ 3008312 w 5899150"/>
              <a:gd name="connsiteY105" fmla="*/ 2572534 h 4169030"/>
              <a:gd name="connsiteX106" fmla="*/ 2943161 w 5899150"/>
              <a:gd name="connsiteY106" fmla="*/ 2627568 h 4169030"/>
              <a:gd name="connsiteX107" fmla="*/ 2870831 w 5899150"/>
              <a:gd name="connsiteY107" fmla="*/ 2636758 h 4169030"/>
              <a:gd name="connsiteX108" fmla="*/ 2849562 w 5899150"/>
              <a:gd name="connsiteY108" fmla="*/ 2643950 h 4169030"/>
              <a:gd name="connsiteX109" fmla="*/ 2849562 w 5899150"/>
              <a:gd name="connsiteY109" fmla="*/ 4024568 h 4169030"/>
              <a:gd name="connsiteX110" fmla="*/ 2706687 w 5899150"/>
              <a:gd name="connsiteY110" fmla="*/ 4024568 h 4169030"/>
              <a:gd name="connsiteX111" fmla="*/ 2363787 w 5899150"/>
              <a:gd name="connsiteY111" fmla="*/ 0 h 4169030"/>
              <a:gd name="connsiteX112" fmla="*/ 2597149 w 5899150"/>
              <a:gd name="connsiteY112" fmla="*/ 0 h 4169030"/>
              <a:gd name="connsiteX113" fmla="*/ 2597149 w 5899150"/>
              <a:gd name="connsiteY113" fmla="*/ 4024568 h 4169030"/>
              <a:gd name="connsiteX114" fmla="*/ 2363787 w 5899150"/>
              <a:gd name="connsiteY114" fmla="*/ 4024568 h 4169030"/>
              <a:gd name="connsiteX115" fmla="*/ 1065212 w 5899150"/>
              <a:gd name="connsiteY115" fmla="*/ 0 h 4169030"/>
              <a:gd name="connsiteX116" fmla="*/ 1103312 w 5899150"/>
              <a:gd name="connsiteY116" fmla="*/ 0 h 4169030"/>
              <a:gd name="connsiteX117" fmla="*/ 1103312 w 5899150"/>
              <a:gd name="connsiteY117" fmla="*/ 2351515 h 4169030"/>
              <a:gd name="connsiteX118" fmla="*/ 1129517 w 5899150"/>
              <a:gd name="connsiteY118" fmla="*/ 2333902 h 4169030"/>
              <a:gd name="connsiteX119" fmla="*/ 1188596 w 5899150"/>
              <a:gd name="connsiteY119" fmla="*/ 2309000 h 4169030"/>
              <a:gd name="connsiteX120" fmla="*/ 1332441 w 5899150"/>
              <a:gd name="connsiteY120" fmla="*/ 2398304 h 4169030"/>
              <a:gd name="connsiteX121" fmla="*/ 1366155 w 5899150"/>
              <a:gd name="connsiteY121" fmla="*/ 2402759 h 4169030"/>
              <a:gd name="connsiteX122" fmla="*/ 1373187 w 5899150"/>
              <a:gd name="connsiteY122" fmla="*/ 2405026 h 4169030"/>
              <a:gd name="connsiteX123" fmla="*/ 1373187 w 5899150"/>
              <a:gd name="connsiteY123" fmla="*/ 1625601 h 4169030"/>
              <a:gd name="connsiteX124" fmla="*/ 1340907 w 5899150"/>
              <a:gd name="connsiteY124" fmla="*/ 1641100 h 4169030"/>
              <a:gd name="connsiteX125" fmla="*/ 1270000 w 5899150"/>
              <a:gd name="connsiteY125" fmla="*/ 1675677 h 4169030"/>
              <a:gd name="connsiteX126" fmla="*/ 1338602 w 5899150"/>
              <a:gd name="connsiteY126" fmla="*/ 1627441 h 4169030"/>
              <a:gd name="connsiteX127" fmla="*/ 1373187 w 5899150"/>
              <a:gd name="connsiteY127" fmla="*/ 1607193 h 4169030"/>
              <a:gd name="connsiteX128" fmla="*/ 1373187 w 5899150"/>
              <a:gd name="connsiteY128" fmla="*/ 0 h 4169030"/>
              <a:gd name="connsiteX129" fmla="*/ 1514474 w 5899150"/>
              <a:gd name="connsiteY129" fmla="*/ 0 h 4169030"/>
              <a:gd name="connsiteX130" fmla="*/ 1514474 w 5899150"/>
              <a:gd name="connsiteY130" fmla="*/ 1648865 h 4169030"/>
              <a:gd name="connsiteX131" fmla="*/ 1531976 w 5899150"/>
              <a:gd name="connsiteY131" fmla="*/ 1662017 h 4169030"/>
              <a:gd name="connsiteX132" fmla="*/ 1654174 w 5899150"/>
              <a:gd name="connsiteY132" fmla="*/ 1726902 h 4169030"/>
              <a:gd name="connsiteX133" fmla="*/ 1770799 w 5899150"/>
              <a:gd name="connsiteY133" fmla="*/ 1754648 h 4169030"/>
              <a:gd name="connsiteX134" fmla="*/ 1801812 w 5899150"/>
              <a:gd name="connsiteY134" fmla="*/ 1766756 h 4169030"/>
              <a:gd name="connsiteX135" fmla="*/ 1801812 w 5899150"/>
              <a:gd name="connsiteY135" fmla="*/ 582868 h 4169030"/>
              <a:gd name="connsiteX136" fmla="*/ 1952350 w 5899150"/>
              <a:gd name="connsiteY136" fmla="*/ 1535089 h 4169030"/>
              <a:gd name="connsiteX137" fmla="*/ 1952350 w 5899150"/>
              <a:gd name="connsiteY137" fmla="*/ 2894914 h 4169030"/>
              <a:gd name="connsiteX138" fmla="*/ 1952350 w 5899150"/>
              <a:gd name="connsiteY138" fmla="*/ 3391576 h 4169030"/>
              <a:gd name="connsiteX139" fmla="*/ 2000249 w 5899150"/>
              <a:gd name="connsiteY139" fmla="*/ 4124580 h 4169030"/>
              <a:gd name="connsiteX140" fmla="*/ 1801812 w 5899150"/>
              <a:gd name="connsiteY140" fmla="*/ 4124580 h 4169030"/>
              <a:gd name="connsiteX141" fmla="*/ 1801812 w 5899150"/>
              <a:gd name="connsiteY141" fmla="*/ 1819703 h 4169030"/>
              <a:gd name="connsiteX142" fmla="*/ 1794810 w 5899150"/>
              <a:gd name="connsiteY142" fmla="*/ 1812275 h 4169030"/>
              <a:gd name="connsiteX143" fmla="*/ 1671326 w 5899150"/>
              <a:gd name="connsiteY143" fmla="*/ 1754221 h 4169030"/>
              <a:gd name="connsiteX144" fmla="*/ 1527689 w 5899150"/>
              <a:gd name="connsiteY144" fmla="*/ 1670127 h 4169030"/>
              <a:gd name="connsiteX145" fmla="*/ 1514474 w 5899150"/>
              <a:gd name="connsiteY145" fmla="*/ 1659196 h 4169030"/>
              <a:gd name="connsiteX146" fmla="*/ 1514474 w 5899150"/>
              <a:gd name="connsiteY146" fmla="*/ 4124580 h 4169030"/>
              <a:gd name="connsiteX147" fmla="*/ 1373187 w 5899150"/>
              <a:gd name="connsiteY147" fmla="*/ 4124580 h 4169030"/>
              <a:gd name="connsiteX148" fmla="*/ 1373187 w 5899150"/>
              <a:gd name="connsiteY148" fmla="*/ 2423717 h 4169030"/>
              <a:gd name="connsiteX149" fmla="*/ 1342716 w 5899150"/>
              <a:gd name="connsiteY149" fmla="*/ 2415478 h 4169030"/>
              <a:gd name="connsiteX150" fmla="*/ 1168047 w 5899150"/>
              <a:gd name="connsiteY150" fmla="*/ 2326174 h 4169030"/>
              <a:gd name="connsiteX151" fmla="*/ 1106399 w 5899150"/>
              <a:gd name="connsiteY151" fmla="*/ 2354081 h 4169030"/>
              <a:gd name="connsiteX152" fmla="*/ 1103312 w 5899150"/>
              <a:gd name="connsiteY152" fmla="*/ 2355565 h 4169030"/>
              <a:gd name="connsiteX153" fmla="*/ 1103312 w 5899150"/>
              <a:gd name="connsiteY153" fmla="*/ 4165855 h 4169030"/>
              <a:gd name="connsiteX154" fmla="*/ 1065212 w 5899150"/>
              <a:gd name="connsiteY154" fmla="*/ 4165855 h 4169030"/>
              <a:gd name="connsiteX155" fmla="*/ 887412 w 5899150"/>
              <a:gd name="connsiteY155" fmla="*/ 0 h 4169030"/>
              <a:gd name="connsiteX156" fmla="*/ 969962 w 5899150"/>
              <a:gd name="connsiteY156" fmla="*/ 0 h 4169030"/>
              <a:gd name="connsiteX157" fmla="*/ 969962 w 5899150"/>
              <a:gd name="connsiteY157" fmla="*/ 4165855 h 4169030"/>
              <a:gd name="connsiteX158" fmla="*/ 887412 w 5899150"/>
              <a:gd name="connsiteY158" fmla="*/ 4165855 h 4169030"/>
              <a:gd name="connsiteX159" fmla="*/ 630237 w 5899150"/>
              <a:gd name="connsiteY159" fmla="*/ 0 h 4169030"/>
              <a:gd name="connsiteX160" fmla="*/ 774699 w 5899150"/>
              <a:gd name="connsiteY160" fmla="*/ 0 h 4169030"/>
              <a:gd name="connsiteX161" fmla="*/ 774699 w 5899150"/>
              <a:gd name="connsiteY161" fmla="*/ 4124580 h 4169030"/>
              <a:gd name="connsiteX162" fmla="*/ 630237 w 5899150"/>
              <a:gd name="connsiteY162" fmla="*/ 4124580 h 4169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</a:cxnLst>
            <a:rect l="l" t="t" r="r" b="b"/>
            <a:pathLst>
              <a:path w="5899150" h="4169030">
                <a:moveTo>
                  <a:pt x="4950105" y="2048130"/>
                </a:moveTo>
                <a:cubicBezTo>
                  <a:pt x="5005387" y="2329034"/>
                  <a:pt x="4950105" y="3740405"/>
                  <a:pt x="4950105" y="3740405"/>
                </a:cubicBezTo>
                <a:cubicBezTo>
                  <a:pt x="4946650" y="3689020"/>
                  <a:pt x="4950105" y="2048130"/>
                  <a:pt x="4950105" y="2048130"/>
                </a:cubicBezTo>
                <a:close/>
                <a:moveTo>
                  <a:pt x="2024528" y="1949705"/>
                </a:moveTo>
                <a:cubicBezTo>
                  <a:pt x="2024528" y="1949705"/>
                  <a:pt x="2038349" y="2938966"/>
                  <a:pt x="2024528" y="3000581"/>
                </a:cubicBezTo>
                <a:cubicBezTo>
                  <a:pt x="2014163" y="3062196"/>
                  <a:pt x="2000342" y="3592768"/>
                  <a:pt x="2000342" y="3592768"/>
                </a:cubicBezTo>
                <a:cubicBezTo>
                  <a:pt x="2000342" y="3592768"/>
                  <a:pt x="1979612" y="3205964"/>
                  <a:pt x="1979612" y="3123811"/>
                </a:cubicBezTo>
                <a:cubicBezTo>
                  <a:pt x="1979612" y="3041657"/>
                  <a:pt x="1996887" y="2627469"/>
                  <a:pt x="2000342" y="2528200"/>
                </a:cubicBezTo>
                <a:cubicBezTo>
                  <a:pt x="2007253" y="2428932"/>
                  <a:pt x="2024528" y="1949705"/>
                  <a:pt x="2024528" y="1949705"/>
                </a:cubicBezTo>
                <a:close/>
                <a:moveTo>
                  <a:pt x="157535" y="1541717"/>
                </a:moveTo>
                <a:cubicBezTo>
                  <a:pt x="157535" y="1541717"/>
                  <a:pt x="207962" y="1630795"/>
                  <a:pt x="184429" y="1716447"/>
                </a:cubicBezTo>
                <a:cubicBezTo>
                  <a:pt x="157535" y="1802099"/>
                  <a:pt x="184429" y="2521577"/>
                  <a:pt x="154174" y="2884742"/>
                </a:cubicBezTo>
                <a:cubicBezTo>
                  <a:pt x="154174" y="2884742"/>
                  <a:pt x="157535" y="2425647"/>
                  <a:pt x="154174" y="2353699"/>
                </a:cubicBezTo>
                <a:cubicBezTo>
                  <a:pt x="150812" y="2281751"/>
                  <a:pt x="150812" y="1966552"/>
                  <a:pt x="154174" y="1884325"/>
                </a:cubicBezTo>
                <a:cubicBezTo>
                  <a:pt x="157535" y="1802099"/>
                  <a:pt x="157535" y="1541717"/>
                  <a:pt x="157535" y="1541717"/>
                </a:cubicBezTo>
                <a:close/>
                <a:moveTo>
                  <a:pt x="99236" y="1144845"/>
                </a:moveTo>
                <a:cubicBezTo>
                  <a:pt x="99236" y="1144845"/>
                  <a:pt x="133455" y="1706528"/>
                  <a:pt x="112924" y="1805849"/>
                </a:cubicBezTo>
                <a:cubicBezTo>
                  <a:pt x="92392" y="1905170"/>
                  <a:pt x="106080" y="3364178"/>
                  <a:pt x="106080" y="3405277"/>
                </a:cubicBezTo>
                <a:cubicBezTo>
                  <a:pt x="106080" y="3446376"/>
                  <a:pt x="153987" y="2984014"/>
                  <a:pt x="153987" y="2984014"/>
                </a:cubicBezTo>
                <a:cubicBezTo>
                  <a:pt x="153987" y="2984014"/>
                  <a:pt x="153987" y="2984014"/>
                  <a:pt x="153987" y="4169030"/>
                </a:cubicBezTo>
                <a:cubicBezTo>
                  <a:pt x="153987" y="4169030"/>
                  <a:pt x="153987" y="4169030"/>
                  <a:pt x="0" y="4169030"/>
                </a:cubicBezTo>
                <a:cubicBezTo>
                  <a:pt x="0" y="4169030"/>
                  <a:pt x="0" y="4169030"/>
                  <a:pt x="0" y="1312665"/>
                </a:cubicBezTo>
                <a:close/>
                <a:moveTo>
                  <a:pt x="5899150" y="914655"/>
                </a:moveTo>
                <a:lnTo>
                  <a:pt x="5899150" y="1041655"/>
                </a:lnTo>
                <a:lnTo>
                  <a:pt x="5899150" y="3846767"/>
                </a:lnTo>
                <a:lnTo>
                  <a:pt x="5867400" y="3846767"/>
                </a:lnTo>
                <a:lnTo>
                  <a:pt x="5867400" y="1048005"/>
                </a:lnTo>
                <a:close/>
                <a:moveTo>
                  <a:pt x="5651500" y="636843"/>
                </a:moveTo>
                <a:cubicBezTo>
                  <a:pt x="5651500" y="636843"/>
                  <a:pt x="5781613" y="736190"/>
                  <a:pt x="5778189" y="914329"/>
                </a:cubicBezTo>
                <a:cubicBezTo>
                  <a:pt x="5774765" y="1092468"/>
                  <a:pt x="5788461" y="1373379"/>
                  <a:pt x="5805581" y="1479577"/>
                </a:cubicBezTo>
                <a:cubicBezTo>
                  <a:pt x="5826125" y="1582349"/>
                  <a:pt x="5785037" y="1777617"/>
                  <a:pt x="5778189" y="1948904"/>
                </a:cubicBezTo>
                <a:cubicBezTo>
                  <a:pt x="5771341" y="2116765"/>
                  <a:pt x="5798733" y="2370271"/>
                  <a:pt x="5812429" y="2548410"/>
                </a:cubicBezTo>
                <a:cubicBezTo>
                  <a:pt x="5826125" y="2726549"/>
                  <a:pt x="5812429" y="3846768"/>
                  <a:pt x="5812429" y="3846768"/>
                </a:cubicBezTo>
                <a:lnTo>
                  <a:pt x="5651500" y="3846768"/>
                </a:lnTo>
                <a:cubicBezTo>
                  <a:pt x="5651500" y="636843"/>
                  <a:pt x="5651500" y="636843"/>
                  <a:pt x="5651500" y="636843"/>
                </a:cubicBezTo>
                <a:close/>
                <a:moveTo>
                  <a:pt x="3798887" y="0"/>
                </a:moveTo>
                <a:lnTo>
                  <a:pt x="3887787" y="0"/>
                </a:lnTo>
                <a:lnTo>
                  <a:pt x="3887787" y="1541995"/>
                </a:lnTo>
                <a:lnTo>
                  <a:pt x="3892017" y="1539449"/>
                </a:lnTo>
                <a:cubicBezTo>
                  <a:pt x="3901002" y="1534942"/>
                  <a:pt x="3908276" y="1532581"/>
                  <a:pt x="3911699" y="1534298"/>
                </a:cubicBezTo>
                <a:cubicBezTo>
                  <a:pt x="3924535" y="1539449"/>
                  <a:pt x="3973955" y="1583235"/>
                  <a:pt x="4010860" y="1603357"/>
                </a:cubicBezTo>
                <a:lnTo>
                  <a:pt x="4017962" y="1605637"/>
                </a:lnTo>
                <a:lnTo>
                  <a:pt x="4017962" y="0"/>
                </a:lnTo>
                <a:lnTo>
                  <a:pt x="4179887" y="0"/>
                </a:lnTo>
                <a:lnTo>
                  <a:pt x="4179887" y="1881563"/>
                </a:lnTo>
                <a:lnTo>
                  <a:pt x="4188820" y="1882372"/>
                </a:lnTo>
                <a:cubicBezTo>
                  <a:pt x="4213549" y="1885087"/>
                  <a:pt x="4250803" y="1888281"/>
                  <a:pt x="4268788" y="1870396"/>
                </a:cubicBezTo>
                <a:lnTo>
                  <a:pt x="4298950" y="1847301"/>
                </a:lnTo>
                <a:lnTo>
                  <a:pt x="4298950" y="0"/>
                </a:lnTo>
                <a:lnTo>
                  <a:pt x="4384675" y="0"/>
                </a:lnTo>
                <a:lnTo>
                  <a:pt x="4384675" y="2129601"/>
                </a:lnTo>
                <a:lnTo>
                  <a:pt x="4386873" y="2131428"/>
                </a:lnTo>
                <a:cubicBezTo>
                  <a:pt x="4402260" y="2145579"/>
                  <a:pt x="4419783" y="2163374"/>
                  <a:pt x="4437734" y="2184922"/>
                </a:cubicBezTo>
                <a:lnTo>
                  <a:pt x="4487862" y="2256236"/>
                </a:lnTo>
                <a:lnTo>
                  <a:pt x="4487862" y="0"/>
                </a:lnTo>
                <a:lnTo>
                  <a:pt x="4627562" y="0"/>
                </a:lnTo>
                <a:lnTo>
                  <a:pt x="4627562" y="2367529"/>
                </a:lnTo>
                <a:lnTo>
                  <a:pt x="4660412" y="2382977"/>
                </a:lnTo>
                <a:cubicBezTo>
                  <a:pt x="4679217" y="2392358"/>
                  <a:pt x="4696313" y="2402435"/>
                  <a:pt x="4709990" y="2415299"/>
                </a:cubicBezTo>
                <a:cubicBezTo>
                  <a:pt x="4723667" y="2428163"/>
                  <a:pt x="4737558" y="2444887"/>
                  <a:pt x="4750700" y="2462736"/>
                </a:cubicBezTo>
                <a:lnTo>
                  <a:pt x="4775200" y="2499388"/>
                </a:lnTo>
                <a:lnTo>
                  <a:pt x="4775200" y="0"/>
                </a:lnTo>
                <a:lnTo>
                  <a:pt x="4902200" y="0"/>
                </a:lnTo>
                <a:lnTo>
                  <a:pt x="4902200" y="3994405"/>
                </a:lnTo>
                <a:lnTo>
                  <a:pt x="4775200" y="3994405"/>
                </a:lnTo>
                <a:lnTo>
                  <a:pt x="4775200" y="2685763"/>
                </a:lnTo>
                <a:lnTo>
                  <a:pt x="4774956" y="2686305"/>
                </a:lnTo>
                <a:cubicBezTo>
                  <a:pt x="4774956" y="2686305"/>
                  <a:pt x="4751395" y="2528718"/>
                  <a:pt x="4658462" y="2441061"/>
                </a:cubicBezTo>
                <a:lnTo>
                  <a:pt x="4627562" y="2418260"/>
                </a:lnTo>
                <a:lnTo>
                  <a:pt x="4627562" y="4107118"/>
                </a:lnTo>
                <a:lnTo>
                  <a:pt x="4487862" y="4107118"/>
                </a:lnTo>
                <a:lnTo>
                  <a:pt x="4487862" y="2285838"/>
                </a:lnTo>
                <a:lnTo>
                  <a:pt x="4452266" y="2240774"/>
                </a:lnTo>
                <a:cubicBezTo>
                  <a:pt x="4429827" y="2209686"/>
                  <a:pt x="4409205" y="2179991"/>
                  <a:pt x="4389705" y="2156138"/>
                </a:cubicBezTo>
                <a:lnTo>
                  <a:pt x="4384675" y="2150695"/>
                </a:lnTo>
                <a:lnTo>
                  <a:pt x="4384675" y="3846768"/>
                </a:lnTo>
                <a:lnTo>
                  <a:pt x="4298950" y="3846768"/>
                </a:lnTo>
                <a:lnTo>
                  <a:pt x="4298950" y="1858615"/>
                </a:lnTo>
                <a:lnTo>
                  <a:pt x="4280403" y="1873164"/>
                </a:lnTo>
                <a:cubicBezTo>
                  <a:pt x="4273498" y="1878913"/>
                  <a:pt x="4267931" y="1884022"/>
                  <a:pt x="4265362" y="1887429"/>
                </a:cubicBezTo>
                <a:cubicBezTo>
                  <a:pt x="4257654" y="1897648"/>
                  <a:pt x="4222970" y="1890623"/>
                  <a:pt x="4195992" y="1895094"/>
                </a:cubicBezTo>
                <a:lnTo>
                  <a:pt x="4179887" y="1901618"/>
                </a:lnTo>
                <a:lnTo>
                  <a:pt x="4179887" y="4024568"/>
                </a:lnTo>
                <a:lnTo>
                  <a:pt x="4017962" y="4024568"/>
                </a:lnTo>
                <a:lnTo>
                  <a:pt x="4017962" y="1619253"/>
                </a:lnTo>
                <a:lnTo>
                  <a:pt x="4009630" y="1614733"/>
                </a:lnTo>
                <a:cubicBezTo>
                  <a:pt x="3968393" y="1586884"/>
                  <a:pt x="3930525" y="1533439"/>
                  <a:pt x="3894584" y="1551469"/>
                </a:cubicBezTo>
                <a:lnTo>
                  <a:pt x="3887787" y="1554608"/>
                </a:lnTo>
                <a:lnTo>
                  <a:pt x="3887787" y="4069018"/>
                </a:lnTo>
                <a:lnTo>
                  <a:pt x="3798887" y="4069018"/>
                </a:lnTo>
                <a:lnTo>
                  <a:pt x="3798887" y="2296407"/>
                </a:lnTo>
                <a:lnTo>
                  <a:pt x="3771415" y="2277758"/>
                </a:lnTo>
                <a:cubicBezTo>
                  <a:pt x="3759001" y="2271699"/>
                  <a:pt x="3745242" y="2267659"/>
                  <a:pt x="3730624" y="2267659"/>
                </a:cubicBezTo>
                <a:cubicBezTo>
                  <a:pt x="3675591" y="2267659"/>
                  <a:pt x="3623997" y="2165605"/>
                  <a:pt x="3575843" y="2189418"/>
                </a:cubicBezTo>
                <a:cubicBezTo>
                  <a:pt x="3527689" y="2209828"/>
                  <a:pt x="3503612" y="2223436"/>
                  <a:pt x="3503612" y="2223436"/>
                </a:cubicBezTo>
                <a:cubicBezTo>
                  <a:pt x="3503612" y="2223436"/>
                  <a:pt x="3575843" y="2165605"/>
                  <a:pt x="3593041" y="2172409"/>
                </a:cubicBezTo>
                <a:cubicBezTo>
                  <a:pt x="3610239" y="2179212"/>
                  <a:pt x="3692789" y="2254052"/>
                  <a:pt x="3723745" y="2250650"/>
                </a:cubicBezTo>
                <a:cubicBezTo>
                  <a:pt x="3739223" y="2250650"/>
                  <a:pt x="3766740" y="2259155"/>
                  <a:pt x="3790387" y="2267659"/>
                </a:cubicBezTo>
                <a:lnTo>
                  <a:pt x="3798887" y="2270909"/>
                </a:lnTo>
                <a:close/>
                <a:moveTo>
                  <a:pt x="2706687" y="0"/>
                </a:moveTo>
                <a:lnTo>
                  <a:pt x="2849562" y="0"/>
                </a:lnTo>
                <a:lnTo>
                  <a:pt x="2849562" y="2624099"/>
                </a:lnTo>
                <a:lnTo>
                  <a:pt x="2865098" y="2623913"/>
                </a:lnTo>
                <a:cubicBezTo>
                  <a:pt x="2889369" y="2625203"/>
                  <a:pt x="2928588" y="2628428"/>
                  <a:pt x="2946590" y="2610370"/>
                </a:cubicBezTo>
                <a:cubicBezTo>
                  <a:pt x="2970593" y="2589732"/>
                  <a:pt x="3008312" y="2565655"/>
                  <a:pt x="3008312" y="2565655"/>
                </a:cubicBezTo>
                <a:cubicBezTo>
                  <a:pt x="3008312" y="2572534"/>
                  <a:pt x="3008312" y="2572534"/>
                  <a:pt x="3008312" y="2572534"/>
                </a:cubicBezTo>
                <a:cubicBezTo>
                  <a:pt x="3008312" y="2572534"/>
                  <a:pt x="2953448" y="2613809"/>
                  <a:pt x="2943161" y="2627568"/>
                </a:cubicBezTo>
                <a:cubicBezTo>
                  <a:pt x="2935446" y="2637886"/>
                  <a:pt x="2898798" y="2632727"/>
                  <a:pt x="2870831" y="2636758"/>
                </a:cubicBezTo>
                <a:lnTo>
                  <a:pt x="2849562" y="2643950"/>
                </a:lnTo>
                <a:lnTo>
                  <a:pt x="2849562" y="4024568"/>
                </a:lnTo>
                <a:lnTo>
                  <a:pt x="2706687" y="4024568"/>
                </a:lnTo>
                <a:close/>
                <a:moveTo>
                  <a:pt x="2363787" y="0"/>
                </a:moveTo>
                <a:lnTo>
                  <a:pt x="2597149" y="0"/>
                </a:lnTo>
                <a:lnTo>
                  <a:pt x="2597149" y="4024568"/>
                </a:lnTo>
                <a:lnTo>
                  <a:pt x="2363787" y="4024568"/>
                </a:lnTo>
                <a:close/>
                <a:moveTo>
                  <a:pt x="1065212" y="0"/>
                </a:moveTo>
                <a:lnTo>
                  <a:pt x="1103312" y="0"/>
                </a:lnTo>
                <a:lnTo>
                  <a:pt x="1103312" y="2351515"/>
                </a:lnTo>
                <a:lnTo>
                  <a:pt x="1129517" y="2333902"/>
                </a:lnTo>
                <a:cubicBezTo>
                  <a:pt x="1152635" y="2319304"/>
                  <a:pt x="1178322" y="2305565"/>
                  <a:pt x="1188596" y="2309000"/>
                </a:cubicBezTo>
                <a:cubicBezTo>
                  <a:pt x="1205721" y="2315869"/>
                  <a:pt x="1298192" y="2401739"/>
                  <a:pt x="1332441" y="2398304"/>
                </a:cubicBezTo>
                <a:cubicBezTo>
                  <a:pt x="1341003" y="2397445"/>
                  <a:pt x="1352990" y="2399377"/>
                  <a:pt x="1366155" y="2402759"/>
                </a:cubicBezTo>
                <a:lnTo>
                  <a:pt x="1373187" y="2405026"/>
                </a:lnTo>
                <a:lnTo>
                  <a:pt x="1373187" y="1625601"/>
                </a:lnTo>
                <a:lnTo>
                  <a:pt x="1340907" y="1641100"/>
                </a:lnTo>
                <a:cubicBezTo>
                  <a:pt x="1293153" y="1664152"/>
                  <a:pt x="1270000" y="1675677"/>
                  <a:pt x="1270000" y="1675677"/>
                </a:cubicBezTo>
                <a:cubicBezTo>
                  <a:pt x="1270000" y="1675677"/>
                  <a:pt x="1302586" y="1650918"/>
                  <a:pt x="1338602" y="1627441"/>
                </a:cubicBezTo>
                <a:lnTo>
                  <a:pt x="1373187" y="1607193"/>
                </a:lnTo>
                <a:lnTo>
                  <a:pt x="1373187" y="0"/>
                </a:lnTo>
                <a:lnTo>
                  <a:pt x="1514474" y="0"/>
                </a:lnTo>
                <a:lnTo>
                  <a:pt x="1514474" y="1648865"/>
                </a:lnTo>
                <a:lnTo>
                  <a:pt x="1531976" y="1662017"/>
                </a:lnTo>
                <a:cubicBezTo>
                  <a:pt x="1578711" y="1696167"/>
                  <a:pt x="1628448" y="1728609"/>
                  <a:pt x="1654174" y="1726902"/>
                </a:cubicBezTo>
                <a:cubicBezTo>
                  <a:pt x="1681616" y="1725194"/>
                  <a:pt x="1729637" y="1739708"/>
                  <a:pt x="1770799" y="1754648"/>
                </a:cubicBezTo>
                <a:lnTo>
                  <a:pt x="1801812" y="1766756"/>
                </a:lnTo>
                <a:lnTo>
                  <a:pt x="1801812" y="582868"/>
                </a:lnTo>
                <a:cubicBezTo>
                  <a:pt x="1801812" y="582868"/>
                  <a:pt x="1938665" y="969922"/>
                  <a:pt x="1952350" y="1535089"/>
                </a:cubicBezTo>
                <a:cubicBezTo>
                  <a:pt x="1966035" y="2100255"/>
                  <a:pt x="1969457" y="2614043"/>
                  <a:pt x="1952350" y="2894914"/>
                </a:cubicBezTo>
                <a:cubicBezTo>
                  <a:pt x="1935244" y="3175785"/>
                  <a:pt x="1952350" y="3391576"/>
                  <a:pt x="1952350" y="3391576"/>
                </a:cubicBezTo>
                <a:cubicBezTo>
                  <a:pt x="2000249" y="4124580"/>
                  <a:pt x="2000249" y="4124580"/>
                  <a:pt x="2000249" y="4124580"/>
                </a:cubicBezTo>
                <a:cubicBezTo>
                  <a:pt x="1801812" y="4124580"/>
                  <a:pt x="1801812" y="4124580"/>
                  <a:pt x="1801812" y="4124580"/>
                </a:cubicBezTo>
                <a:lnTo>
                  <a:pt x="1801812" y="1819703"/>
                </a:lnTo>
                <a:lnTo>
                  <a:pt x="1794810" y="1812275"/>
                </a:lnTo>
                <a:cubicBezTo>
                  <a:pt x="1763081" y="1783249"/>
                  <a:pt x="1719347" y="1754221"/>
                  <a:pt x="1671326" y="1754221"/>
                </a:cubicBezTo>
                <a:cubicBezTo>
                  <a:pt x="1621588" y="1754221"/>
                  <a:pt x="1573566" y="1709827"/>
                  <a:pt x="1527689" y="1670127"/>
                </a:cubicBezTo>
                <a:lnTo>
                  <a:pt x="1514474" y="1659196"/>
                </a:lnTo>
                <a:lnTo>
                  <a:pt x="1514474" y="4124580"/>
                </a:lnTo>
                <a:lnTo>
                  <a:pt x="1373187" y="4124580"/>
                </a:lnTo>
                <a:lnTo>
                  <a:pt x="1373187" y="2423717"/>
                </a:lnTo>
                <a:lnTo>
                  <a:pt x="1342716" y="2415478"/>
                </a:lnTo>
                <a:cubicBezTo>
                  <a:pt x="1277643" y="2415478"/>
                  <a:pt x="1219420" y="2302130"/>
                  <a:pt x="1168047" y="2326174"/>
                </a:cubicBezTo>
                <a:cubicBezTo>
                  <a:pt x="1140648" y="2338195"/>
                  <a:pt x="1120099" y="2347641"/>
                  <a:pt x="1106399" y="2354081"/>
                </a:cubicBezTo>
                <a:lnTo>
                  <a:pt x="1103312" y="2355565"/>
                </a:lnTo>
                <a:lnTo>
                  <a:pt x="1103312" y="4165855"/>
                </a:lnTo>
                <a:lnTo>
                  <a:pt x="1065212" y="4165855"/>
                </a:lnTo>
                <a:close/>
                <a:moveTo>
                  <a:pt x="887412" y="0"/>
                </a:moveTo>
                <a:lnTo>
                  <a:pt x="969962" y="0"/>
                </a:lnTo>
                <a:lnTo>
                  <a:pt x="969962" y="4165855"/>
                </a:lnTo>
                <a:lnTo>
                  <a:pt x="887412" y="4165855"/>
                </a:lnTo>
                <a:close/>
                <a:moveTo>
                  <a:pt x="630237" y="0"/>
                </a:moveTo>
                <a:lnTo>
                  <a:pt x="774699" y="0"/>
                </a:lnTo>
                <a:lnTo>
                  <a:pt x="774699" y="4124580"/>
                </a:lnTo>
                <a:lnTo>
                  <a:pt x="630237" y="41245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507" name="任意多边形: 形状 506">
            <a:extLst>
              <a:ext uri="{FF2B5EF4-FFF2-40B4-BE49-F238E27FC236}">
                <a16:creationId xmlns:a16="http://schemas.microsoft.com/office/drawing/2014/main" id="{B8311E3E-0D79-4A14-84F0-E7F69F9F1EB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30585" y="174489"/>
            <a:ext cx="6558590" cy="4169030"/>
          </a:xfrm>
          <a:custGeom>
            <a:avLst/>
            <a:gdLst>
              <a:gd name="connsiteX0" fmla="*/ 6227763 w 6558590"/>
              <a:gd name="connsiteY0" fmla="*/ 1049761 h 4169030"/>
              <a:gd name="connsiteX1" fmla="*/ 6223594 w 6558590"/>
              <a:gd name="connsiteY1" fmla="*/ 1055033 h 4169030"/>
              <a:gd name="connsiteX2" fmla="*/ 5950451 w 6558590"/>
              <a:gd name="connsiteY2" fmla="*/ 1356784 h 4169030"/>
              <a:gd name="connsiteX3" fmla="*/ 5805396 w 6558590"/>
              <a:gd name="connsiteY3" fmla="*/ 1693902 h 4169030"/>
              <a:gd name="connsiteX4" fmla="*/ 5800725 w 6558590"/>
              <a:gd name="connsiteY4" fmla="*/ 1707222 h 4169030"/>
              <a:gd name="connsiteX5" fmla="*/ 5800725 w 6558590"/>
              <a:gd name="connsiteY5" fmla="*/ 2192694 h 4169030"/>
              <a:gd name="connsiteX6" fmla="*/ 5823025 w 6558590"/>
              <a:gd name="connsiteY6" fmla="*/ 2154828 h 4169030"/>
              <a:gd name="connsiteX7" fmla="*/ 5923598 w 6558590"/>
              <a:gd name="connsiteY7" fmla="*/ 2062303 h 4169030"/>
              <a:gd name="connsiteX8" fmla="*/ 6217885 w 6558590"/>
              <a:gd name="connsiteY8" fmla="*/ 1777873 h 4169030"/>
              <a:gd name="connsiteX9" fmla="*/ 6227763 w 6558590"/>
              <a:gd name="connsiteY9" fmla="*/ 1765285 h 4169030"/>
              <a:gd name="connsiteX10" fmla="*/ 5351463 w 6558590"/>
              <a:gd name="connsiteY10" fmla="*/ 0 h 4169030"/>
              <a:gd name="connsiteX11" fmla="*/ 5800725 w 6558590"/>
              <a:gd name="connsiteY11" fmla="*/ 0 h 4169030"/>
              <a:gd name="connsiteX12" fmla="*/ 5800725 w 6558590"/>
              <a:gd name="connsiteY12" fmla="*/ 1401330 h 4169030"/>
              <a:gd name="connsiteX13" fmla="*/ 5801342 w 6558590"/>
              <a:gd name="connsiteY13" fmla="*/ 1400286 h 4169030"/>
              <a:gd name="connsiteX14" fmla="*/ 5926472 w 6558590"/>
              <a:gd name="connsiteY14" fmla="*/ 1264234 h 4169030"/>
              <a:gd name="connsiteX15" fmla="*/ 6213584 w 6558590"/>
              <a:gd name="connsiteY15" fmla="*/ 936455 h 4169030"/>
              <a:gd name="connsiteX16" fmla="*/ 6227763 w 6558590"/>
              <a:gd name="connsiteY16" fmla="*/ 915195 h 4169030"/>
              <a:gd name="connsiteX17" fmla="*/ 6227763 w 6558590"/>
              <a:gd name="connsiteY17" fmla="*/ 0 h 4169030"/>
              <a:gd name="connsiteX18" fmla="*/ 6558590 w 6558590"/>
              <a:gd name="connsiteY18" fmla="*/ 0 h 4169030"/>
              <a:gd name="connsiteX19" fmla="*/ 6558590 w 6558590"/>
              <a:gd name="connsiteY19" fmla="*/ 3846768 h 4169030"/>
              <a:gd name="connsiteX20" fmla="*/ 6227763 w 6558590"/>
              <a:gd name="connsiteY20" fmla="*/ 3846768 h 4169030"/>
              <a:gd name="connsiteX21" fmla="*/ 6227763 w 6558590"/>
              <a:gd name="connsiteY21" fmla="*/ 1792988 h 4169030"/>
              <a:gd name="connsiteX22" fmla="*/ 6214911 w 6558590"/>
              <a:gd name="connsiteY22" fmla="*/ 1806734 h 4169030"/>
              <a:gd name="connsiteX23" fmla="*/ 5961239 w 6558590"/>
              <a:gd name="connsiteY23" fmla="*/ 2089718 h 4169030"/>
              <a:gd name="connsiteX24" fmla="*/ 5813240 w 6558590"/>
              <a:gd name="connsiteY24" fmla="*/ 2260633 h 4169030"/>
              <a:gd name="connsiteX25" fmla="*/ 5800725 w 6558590"/>
              <a:gd name="connsiteY25" fmla="*/ 2288129 h 4169030"/>
              <a:gd name="connsiteX26" fmla="*/ 5800725 w 6558590"/>
              <a:gd name="connsiteY26" fmla="*/ 3994405 h 4169030"/>
              <a:gd name="connsiteX27" fmla="*/ 5351463 w 6558590"/>
              <a:gd name="connsiteY27" fmla="*/ 3994405 h 4169030"/>
              <a:gd name="connsiteX28" fmla="*/ 2378075 w 6558590"/>
              <a:gd name="connsiteY28" fmla="*/ 0 h 4169030"/>
              <a:gd name="connsiteX29" fmla="*/ 2827337 w 6558590"/>
              <a:gd name="connsiteY29" fmla="*/ 0 h 4169030"/>
              <a:gd name="connsiteX30" fmla="*/ 2827337 w 6558590"/>
              <a:gd name="connsiteY30" fmla="*/ 1552865 h 4169030"/>
              <a:gd name="connsiteX31" fmla="*/ 2859702 w 6558590"/>
              <a:gd name="connsiteY31" fmla="*/ 1538624 h 4169030"/>
              <a:gd name="connsiteX32" fmla="*/ 2977112 w 6558590"/>
              <a:gd name="connsiteY32" fmla="*/ 1503868 h 4169030"/>
              <a:gd name="connsiteX33" fmla="*/ 3559542 w 6558590"/>
              <a:gd name="connsiteY33" fmla="*/ 911827 h 4169030"/>
              <a:gd name="connsiteX34" fmla="*/ 3912427 w 6558590"/>
              <a:gd name="connsiteY34" fmla="*/ 511429 h 4169030"/>
              <a:gd name="connsiteX35" fmla="*/ 3987800 w 6558590"/>
              <a:gd name="connsiteY35" fmla="*/ 531962 h 4169030"/>
              <a:gd name="connsiteX36" fmla="*/ 3682880 w 6558590"/>
              <a:gd name="connsiteY36" fmla="*/ 956315 h 4169030"/>
              <a:gd name="connsiteX37" fmla="*/ 3059337 w 6558590"/>
              <a:gd name="connsiteY37" fmla="*/ 1633911 h 4169030"/>
              <a:gd name="connsiteX38" fmla="*/ 2884394 w 6558590"/>
              <a:gd name="connsiteY38" fmla="*/ 1686956 h 4169030"/>
              <a:gd name="connsiteX39" fmla="*/ 2827337 w 6558590"/>
              <a:gd name="connsiteY39" fmla="*/ 1730610 h 4169030"/>
              <a:gd name="connsiteX40" fmla="*/ 2827337 w 6558590"/>
              <a:gd name="connsiteY40" fmla="*/ 2247465 h 4169030"/>
              <a:gd name="connsiteX41" fmla="*/ 2827893 w 6558590"/>
              <a:gd name="connsiteY41" fmla="*/ 2247099 h 4169030"/>
              <a:gd name="connsiteX42" fmla="*/ 2912764 w 6558590"/>
              <a:gd name="connsiteY42" fmla="*/ 2223122 h 4169030"/>
              <a:gd name="connsiteX43" fmla="*/ 3135377 w 6558590"/>
              <a:gd name="connsiteY43" fmla="*/ 1904574 h 4169030"/>
              <a:gd name="connsiteX44" fmla="*/ 3395662 w 6558590"/>
              <a:gd name="connsiteY44" fmla="*/ 1822368 h 4169030"/>
              <a:gd name="connsiteX45" fmla="*/ 3395662 w 6558590"/>
              <a:gd name="connsiteY45" fmla="*/ 1839495 h 4169030"/>
              <a:gd name="connsiteX46" fmla="*/ 3183324 w 6558590"/>
              <a:gd name="connsiteY46" fmla="*/ 1904574 h 4169030"/>
              <a:gd name="connsiteX47" fmla="*/ 2933313 w 6558590"/>
              <a:gd name="connsiteY47" fmla="*/ 2267650 h 4169030"/>
              <a:gd name="connsiteX48" fmla="*/ 2844803 w 6558590"/>
              <a:gd name="connsiteY48" fmla="*/ 2309824 h 4169030"/>
              <a:gd name="connsiteX49" fmla="*/ 2827337 w 6558590"/>
              <a:gd name="connsiteY49" fmla="*/ 2330942 h 4169030"/>
              <a:gd name="connsiteX50" fmla="*/ 2827337 w 6558590"/>
              <a:gd name="connsiteY50" fmla="*/ 4124580 h 4169030"/>
              <a:gd name="connsiteX51" fmla="*/ 2378075 w 6558590"/>
              <a:gd name="connsiteY51" fmla="*/ 4124580 h 4169030"/>
              <a:gd name="connsiteX52" fmla="*/ 576263 w 6558590"/>
              <a:gd name="connsiteY52" fmla="*/ 0 h 4169030"/>
              <a:gd name="connsiteX53" fmla="*/ 1025525 w 6558590"/>
              <a:gd name="connsiteY53" fmla="*/ 0 h 4169030"/>
              <a:gd name="connsiteX54" fmla="*/ 1025525 w 6558590"/>
              <a:gd name="connsiteY54" fmla="*/ 1963810 h 4169030"/>
              <a:gd name="connsiteX55" fmla="*/ 1033493 w 6558590"/>
              <a:gd name="connsiteY55" fmla="*/ 1956488 h 4169030"/>
              <a:gd name="connsiteX56" fmla="*/ 1080003 w 6558590"/>
              <a:gd name="connsiteY56" fmla="*/ 1925083 h 4169030"/>
              <a:gd name="connsiteX57" fmla="*/ 1292137 w 6558590"/>
              <a:gd name="connsiteY57" fmla="*/ 1904539 h 4169030"/>
              <a:gd name="connsiteX58" fmla="*/ 1425575 w 6558590"/>
              <a:gd name="connsiteY58" fmla="*/ 1805242 h 4169030"/>
              <a:gd name="connsiteX59" fmla="*/ 1425575 w 6558590"/>
              <a:gd name="connsiteY59" fmla="*/ 1822362 h 4169030"/>
              <a:gd name="connsiteX60" fmla="*/ 1285294 w 6558590"/>
              <a:gd name="connsiteY60" fmla="*/ 1938779 h 4169030"/>
              <a:gd name="connsiteX61" fmla="*/ 1083425 w 6558590"/>
              <a:gd name="connsiteY61" fmla="*/ 1973019 h 4169030"/>
              <a:gd name="connsiteX62" fmla="*/ 1033974 w 6558590"/>
              <a:gd name="connsiteY62" fmla="*/ 2018708 h 4169030"/>
              <a:gd name="connsiteX63" fmla="*/ 1025525 w 6558590"/>
              <a:gd name="connsiteY63" fmla="*/ 2027401 h 4169030"/>
              <a:gd name="connsiteX64" fmla="*/ 1025525 w 6558590"/>
              <a:gd name="connsiteY64" fmla="*/ 2721894 h 4169030"/>
              <a:gd name="connsiteX65" fmla="*/ 1025896 w 6558590"/>
              <a:gd name="connsiteY65" fmla="*/ 2721786 h 4169030"/>
              <a:gd name="connsiteX66" fmla="*/ 1230174 w 6558590"/>
              <a:gd name="connsiteY66" fmla="*/ 2699408 h 4169030"/>
              <a:gd name="connsiteX67" fmla="*/ 1514705 w 6558590"/>
              <a:gd name="connsiteY67" fmla="*/ 2630695 h 4169030"/>
              <a:gd name="connsiteX68" fmla="*/ 1662112 w 6558590"/>
              <a:gd name="connsiteY68" fmla="*/ 2695972 h 4169030"/>
              <a:gd name="connsiteX69" fmla="*/ 1504421 w 6558590"/>
              <a:gd name="connsiteY69" fmla="*/ 2647873 h 4169030"/>
              <a:gd name="connsiteX70" fmla="*/ 1192466 w 6558590"/>
              <a:gd name="connsiteY70" fmla="*/ 2733764 h 4169030"/>
              <a:gd name="connsiteX71" fmla="*/ 1058342 w 6558590"/>
              <a:gd name="connsiteY71" fmla="*/ 2753519 h 4169030"/>
              <a:gd name="connsiteX72" fmla="*/ 1025525 w 6558590"/>
              <a:gd name="connsiteY72" fmla="*/ 2775112 h 4169030"/>
              <a:gd name="connsiteX73" fmla="*/ 1025525 w 6558590"/>
              <a:gd name="connsiteY73" fmla="*/ 4169030 h 4169030"/>
              <a:gd name="connsiteX74" fmla="*/ 576263 w 6558590"/>
              <a:gd name="connsiteY74" fmla="*/ 4169030 h 4169030"/>
              <a:gd name="connsiteX75" fmla="*/ 576263 w 6558590"/>
              <a:gd name="connsiteY75" fmla="*/ 2360988 h 4169030"/>
              <a:gd name="connsiteX76" fmla="*/ 554788 w 6558590"/>
              <a:gd name="connsiteY76" fmla="*/ 2331548 h 4169030"/>
              <a:gd name="connsiteX77" fmla="*/ 435010 w 6558590"/>
              <a:gd name="connsiteY77" fmla="*/ 2257484 h 4169030"/>
              <a:gd name="connsiteX78" fmla="*/ 143861 w 6558590"/>
              <a:gd name="connsiteY78" fmla="*/ 2219783 h 4169030"/>
              <a:gd name="connsiteX79" fmla="*/ 0 w 6558590"/>
              <a:gd name="connsiteY79" fmla="*/ 1979867 h 4169030"/>
              <a:gd name="connsiteX80" fmla="*/ 232919 w 6558590"/>
              <a:gd name="connsiteY80" fmla="*/ 2212929 h 4169030"/>
              <a:gd name="connsiteX81" fmla="*/ 558535 w 6558590"/>
              <a:gd name="connsiteY81" fmla="*/ 2285225 h 4169030"/>
              <a:gd name="connsiteX82" fmla="*/ 576263 w 6558590"/>
              <a:gd name="connsiteY82" fmla="*/ 2298756 h 4169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6558590" h="4169030">
                <a:moveTo>
                  <a:pt x="6227763" y="1049761"/>
                </a:moveTo>
                <a:lnTo>
                  <a:pt x="6223594" y="1055033"/>
                </a:lnTo>
                <a:cubicBezTo>
                  <a:pt x="6139291" y="1155617"/>
                  <a:pt x="5996698" y="1297655"/>
                  <a:pt x="5950451" y="1356784"/>
                </a:cubicBezTo>
                <a:cubicBezTo>
                  <a:pt x="5911912" y="1406057"/>
                  <a:pt x="5847949" y="1574500"/>
                  <a:pt x="5805396" y="1693902"/>
                </a:cubicBezTo>
                <a:lnTo>
                  <a:pt x="5800725" y="1707222"/>
                </a:lnTo>
                <a:lnTo>
                  <a:pt x="5800725" y="2192694"/>
                </a:lnTo>
                <a:lnTo>
                  <a:pt x="5823025" y="2154828"/>
                </a:lnTo>
                <a:cubicBezTo>
                  <a:pt x="5852700" y="2109048"/>
                  <a:pt x="5887668" y="2070013"/>
                  <a:pt x="5923598" y="2062303"/>
                </a:cubicBezTo>
                <a:cubicBezTo>
                  <a:pt x="6019412" y="2041742"/>
                  <a:pt x="6142602" y="1880679"/>
                  <a:pt x="6217885" y="1777873"/>
                </a:cubicBezTo>
                <a:lnTo>
                  <a:pt x="6227763" y="1765285"/>
                </a:lnTo>
                <a:close/>
                <a:moveTo>
                  <a:pt x="5351463" y="0"/>
                </a:moveTo>
                <a:lnTo>
                  <a:pt x="5800725" y="0"/>
                </a:lnTo>
                <a:lnTo>
                  <a:pt x="5800725" y="1401330"/>
                </a:lnTo>
                <a:lnTo>
                  <a:pt x="5801342" y="1400286"/>
                </a:lnTo>
                <a:cubicBezTo>
                  <a:pt x="5840884" y="1337824"/>
                  <a:pt x="5885364" y="1282229"/>
                  <a:pt x="5926472" y="1264234"/>
                </a:cubicBezTo>
                <a:cubicBezTo>
                  <a:pt x="6008688" y="1228242"/>
                  <a:pt x="6148711" y="1032217"/>
                  <a:pt x="6213584" y="936455"/>
                </a:cubicBezTo>
                <a:lnTo>
                  <a:pt x="6227763" y="915195"/>
                </a:lnTo>
                <a:lnTo>
                  <a:pt x="6227763" y="0"/>
                </a:lnTo>
                <a:lnTo>
                  <a:pt x="6558590" y="0"/>
                </a:lnTo>
                <a:lnTo>
                  <a:pt x="6558590" y="3846768"/>
                </a:lnTo>
                <a:lnTo>
                  <a:pt x="6227763" y="3846768"/>
                </a:lnTo>
                <a:lnTo>
                  <a:pt x="6227763" y="1792988"/>
                </a:lnTo>
                <a:lnTo>
                  <a:pt x="6214911" y="1806734"/>
                </a:lnTo>
                <a:cubicBezTo>
                  <a:pt x="6131802" y="1905524"/>
                  <a:pt x="6042510" y="2051166"/>
                  <a:pt x="5961239" y="2089718"/>
                </a:cubicBezTo>
                <a:cubicBezTo>
                  <a:pt x="5896222" y="2118846"/>
                  <a:pt x="5846604" y="2193381"/>
                  <a:pt x="5813240" y="2260633"/>
                </a:cubicBezTo>
                <a:lnTo>
                  <a:pt x="5800725" y="2288129"/>
                </a:lnTo>
                <a:lnTo>
                  <a:pt x="5800725" y="3994405"/>
                </a:lnTo>
                <a:lnTo>
                  <a:pt x="5351463" y="3994405"/>
                </a:lnTo>
                <a:close/>
                <a:moveTo>
                  <a:pt x="2378075" y="0"/>
                </a:moveTo>
                <a:lnTo>
                  <a:pt x="2827337" y="0"/>
                </a:lnTo>
                <a:lnTo>
                  <a:pt x="2827337" y="1552865"/>
                </a:lnTo>
                <a:lnTo>
                  <a:pt x="2859702" y="1538624"/>
                </a:lnTo>
                <a:cubicBezTo>
                  <a:pt x="2894458" y="1525898"/>
                  <a:pt x="2933430" y="1514134"/>
                  <a:pt x="2977112" y="1503868"/>
                </a:cubicBezTo>
                <a:cubicBezTo>
                  <a:pt x="3326570" y="1425157"/>
                  <a:pt x="3357404" y="942627"/>
                  <a:pt x="3559542" y="911827"/>
                </a:cubicBezTo>
                <a:cubicBezTo>
                  <a:pt x="3761680" y="877605"/>
                  <a:pt x="3912427" y="511429"/>
                  <a:pt x="3912427" y="511429"/>
                </a:cubicBezTo>
                <a:cubicBezTo>
                  <a:pt x="3912427" y="511429"/>
                  <a:pt x="3912427" y="511429"/>
                  <a:pt x="3987800" y="531962"/>
                </a:cubicBezTo>
                <a:cubicBezTo>
                  <a:pt x="3987800" y="531962"/>
                  <a:pt x="3888444" y="850227"/>
                  <a:pt x="3682880" y="956315"/>
                </a:cubicBezTo>
                <a:cubicBezTo>
                  <a:pt x="3477317" y="1062404"/>
                  <a:pt x="3347126" y="1613378"/>
                  <a:pt x="3059337" y="1633911"/>
                </a:cubicBezTo>
                <a:cubicBezTo>
                  <a:pt x="2987390" y="1639045"/>
                  <a:pt x="2930003" y="1659364"/>
                  <a:pt x="2884394" y="1686956"/>
                </a:cubicBezTo>
                <a:lnTo>
                  <a:pt x="2827337" y="1730610"/>
                </a:lnTo>
                <a:lnTo>
                  <a:pt x="2827337" y="2247465"/>
                </a:lnTo>
                <a:lnTo>
                  <a:pt x="2827893" y="2247099"/>
                </a:lnTo>
                <a:cubicBezTo>
                  <a:pt x="2851974" y="2235539"/>
                  <a:pt x="2880229" y="2226547"/>
                  <a:pt x="2912764" y="2223122"/>
                </a:cubicBezTo>
                <a:cubicBezTo>
                  <a:pt x="3042907" y="2209421"/>
                  <a:pt x="3036057" y="2007332"/>
                  <a:pt x="3135377" y="1904574"/>
                </a:cubicBezTo>
                <a:cubicBezTo>
                  <a:pt x="3231271" y="1805242"/>
                  <a:pt x="3395662" y="1822368"/>
                  <a:pt x="3395662" y="1822368"/>
                </a:cubicBezTo>
                <a:cubicBezTo>
                  <a:pt x="3395662" y="1822368"/>
                  <a:pt x="3395662" y="1822368"/>
                  <a:pt x="3395662" y="1839495"/>
                </a:cubicBezTo>
                <a:cubicBezTo>
                  <a:pt x="3395662" y="1839495"/>
                  <a:pt x="3275794" y="1849770"/>
                  <a:pt x="3183324" y="1904574"/>
                </a:cubicBezTo>
                <a:cubicBezTo>
                  <a:pt x="3090854" y="1962803"/>
                  <a:pt x="3080580" y="2257375"/>
                  <a:pt x="2933313" y="2267650"/>
                </a:cubicBezTo>
                <a:cubicBezTo>
                  <a:pt x="2897353" y="2271076"/>
                  <a:pt x="2868242" y="2287346"/>
                  <a:pt x="2844803" y="2309824"/>
                </a:cubicBezTo>
                <a:lnTo>
                  <a:pt x="2827337" y="2330942"/>
                </a:lnTo>
                <a:lnTo>
                  <a:pt x="2827337" y="4124580"/>
                </a:lnTo>
                <a:lnTo>
                  <a:pt x="2378075" y="4124580"/>
                </a:lnTo>
                <a:close/>
                <a:moveTo>
                  <a:pt x="576263" y="0"/>
                </a:moveTo>
                <a:lnTo>
                  <a:pt x="1025525" y="0"/>
                </a:lnTo>
                <a:lnTo>
                  <a:pt x="1025525" y="1963810"/>
                </a:lnTo>
                <a:lnTo>
                  <a:pt x="1033493" y="1956488"/>
                </a:lnTo>
                <a:cubicBezTo>
                  <a:pt x="1054342" y="1938351"/>
                  <a:pt x="1071450" y="1925939"/>
                  <a:pt x="1080003" y="1925083"/>
                </a:cubicBezTo>
                <a:cubicBezTo>
                  <a:pt x="1114218" y="1925083"/>
                  <a:pt x="1240814" y="1952475"/>
                  <a:pt x="1292137" y="1904539"/>
                </a:cubicBezTo>
                <a:cubicBezTo>
                  <a:pt x="1343459" y="1853178"/>
                  <a:pt x="1425575" y="1805242"/>
                  <a:pt x="1425575" y="1805242"/>
                </a:cubicBezTo>
                <a:cubicBezTo>
                  <a:pt x="1425575" y="1822362"/>
                  <a:pt x="1425575" y="1822362"/>
                  <a:pt x="1425575" y="1822362"/>
                </a:cubicBezTo>
                <a:cubicBezTo>
                  <a:pt x="1425575" y="1822362"/>
                  <a:pt x="1305823" y="1907963"/>
                  <a:pt x="1285294" y="1938779"/>
                </a:cubicBezTo>
                <a:cubicBezTo>
                  <a:pt x="1261343" y="1966171"/>
                  <a:pt x="1134747" y="1935355"/>
                  <a:pt x="1083425" y="1973019"/>
                </a:cubicBezTo>
                <a:cubicBezTo>
                  <a:pt x="1070594" y="1983291"/>
                  <a:pt x="1053059" y="1999769"/>
                  <a:pt x="1033974" y="2018708"/>
                </a:cubicBezTo>
                <a:lnTo>
                  <a:pt x="1025525" y="2027401"/>
                </a:lnTo>
                <a:lnTo>
                  <a:pt x="1025525" y="2721894"/>
                </a:lnTo>
                <a:lnTo>
                  <a:pt x="1025896" y="2721786"/>
                </a:lnTo>
                <a:cubicBezTo>
                  <a:pt x="1095997" y="2702360"/>
                  <a:pt x="1195894" y="2680082"/>
                  <a:pt x="1230174" y="2699408"/>
                </a:cubicBezTo>
                <a:cubicBezTo>
                  <a:pt x="1285024" y="2726893"/>
                  <a:pt x="1483852" y="2589467"/>
                  <a:pt x="1514705" y="2630695"/>
                </a:cubicBezTo>
                <a:cubicBezTo>
                  <a:pt x="1528417" y="2647873"/>
                  <a:pt x="1662112" y="2695972"/>
                  <a:pt x="1662112" y="2695972"/>
                </a:cubicBezTo>
                <a:cubicBezTo>
                  <a:pt x="1662112" y="2695972"/>
                  <a:pt x="1535273" y="2689101"/>
                  <a:pt x="1504421" y="2647873"/>
                </a:cubicBezTo>
                <a:cubicBezTo>
                  <a:pt x="1476996" y="2606645"/>
                  <a:pt x="1247315" y="2795606"/>
                  <a:pt x="1192466" y="2733764"/>
                </a:cubicBezTo>
                <a:cubicBezTo>
                  <a:pt x="1166755" y="2702843"/>
                  <a:pt x="1109335" y="2724316"/>
                  <a:pt x="1058342" y="2753519"/>
                </a:cubicBezTo>
                <a:lnTo>
                  <a:pt x="1025525" y="2775112"/>
                </a:lnTo>
                <a:lnTo>
                  <a:pt x="1025525" y="4169030"/>
                </a:lnTo>
                <a:lnTo>
                  <a:pt x="576263" y="4169030"/>
                </a:lnTo>
                <a:lnTo>
                  <a:pt x="576263" y="2360988"/>
                </a:lnTo>
                <a:lnTo>
                  <a:pt x="554788" y="2331548"/>
                </a:lnTo>
                <a:cubicBezTo>
                  <a:pt x="521071" y="2293472"/>
                  <a:pt x="481252" y="2265196"/>
                  <a:pt x="435010" y="2257484"/>
                </a:cubicBezTo>
                <a:cubicBezTo>
                  <a:pt x="325401" y="2240348"/>
                  <a:pt x="178114" y="2243775"/>
                  <a:pt x="143861" y="2219783"/>
                </a:cubicBezTo>
                <a:cubicBezTo>
                  <a:pt x="113034" y="2195792"/>
                  <a:pt x="0" y="1979867"/>
                  <a:pt x="0" y="1979867"/>
                </a:cubicBezTo>
                <a:cubicBezTo>
                  <a:pt x="0" y="1979867"/>
                  <a:pt x="140436" y="2212929"/>
                  <a:pt x="232919" y="2212929"/>
                </a:cubicBezTo>
                <a:cubicBezTo>
                  <a:pt x="304850" y="2212929"/>
                  <a:pt x="465410" y="2230280"/>
                  <a:pt x="558535" y="2285225"/>
                </a:cubicBezTo>
                <a:lnTo>
                  <a:pt x="576263" y="2298756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500" name="任意多边形: 形状 499">
            <a:extLst>
              <a:ext uri="{FF2B5EF4-FFF2-40B4-BE49-F238E27FC236}">
                <a16:creationId xmlns:a16="http://schemas.microsoft.com/office/drawing/2014/main" id="{B41CC6D9-10C5-4183-8075-526B224BB280}"/>
              </a:ext>
            </a:extLst>
          </p:cNvPr>
          <p:cNvSpPr>
            <a:spLocks/>
          </p:cNvSpPr>
          <p:nvPr userDrawn="1"/>
        </p:nvSpPr>
        <p:spPr bwMode="auto">
          <a:xfrm>
            <a:off x="5260208" y="-11250"/>
            <a:ext cx="6931793" cy="2743892"/>
          </a:xfrm>
          <a:custGeom>
            <a:avLst/>
            <a:gdLst>
              <a:gd name="connsiteX0" fmla="*/ 6266352 w 6931793"/>
              <a:gd name="connsiteY0" fmla="*/ 2627570 h 2743892"/>
              <a:gd name="connsiteX1" fmla="*/ 6389369 w 6931793"/>
              <a:gd name="connsiteY1" fmla="*/ 2682467 h 2743892"/>
              <a:gd name="connsiteX2" fmla="*/ 6467964 w 6931793"/>
              <a:gd name="connsiteY2" fmla="*/ 2696191 h 2743892"/>
              <a:gd name="connsiteX3" fmla="*/ 6266352 w 6931793"/>
              <a:gd name="connsiteY3" fmla="*/ 2627570 h 2743892"/>
              <a:gd name="connsiteX4" fmla="*/ 3477848 w 6931793"/>
              <a:gd name="connsiteY4" fmla="*/ 2538670 h 2743892"/>
              <a:gd name="connsiteX5" fmla="*/ 3378690 w 6931793"/>
              <a:gd name="connsiteY5" fmla="*/ 2727583 h 2743892"/>
              <a:gd name="connsiteX6" fmla="*/ 3450494 w 6931793"/>
              <a:gd name="connsiteY6" fmla="*/ 2614235 h 2743892"/>
              <a:gd name="connsiteX7" fmla="*/ 3477848 w 6931793"/>
              <a:gd name="connsiteY7" fmla="*/ 2538670 h 2743892"/>
              <a:gd name="connsiteX8" fmla="*/ 1541952 w 6931793"/>
              <a:gd name="connsiteY8" fmla="*/ 2460882 h 2743892"/>
              <a:gd name="connsiteX9" fmla="*/ 1661698 w 6931793"/>
              <a:gd name="connsiteY9" fmla="*/ 2515369 h 2743892"/>
              <a:gd name="connsiteX10" fmla="*/ 1740389 w 6931793"/>
              <a:gd name="connsiteY10" fmla="*/ 2528991 h 2743892"/>
              <a:gd name="connsiteX11" fmla="*/ 1541952 w 6931793"/>
              <a:gd name="connsiteY11" fmla="*/ 2460882 h 2743892"/>
              <a:gd name="connsiteX12" fmla="*/ 2606752 w 6931793"/>
              <a:gd name="connsiteY12" fmla="*/ 2326566 h 2743892"/>
              <a:gd name="connsiteX13" fmla="*/ 2673181 w 6931793"/>
              <a:gd name="connsiteY13" fmla="*/ 2464058 h 2743892"/>
              <a:gd name="connsiteX14" fmla="*/ 2635275 w 6931793"/>
              <a:gd name="connsiteY14" fmla="*/ 2374788 h 2743892"/>
              <a:gd name="connsiteX15" fmla="*/ 2600815 w 6931793"/>
              <a:gd name="connsiteY15" fmla="*/ 2326720 h 2743892"/>
              <a:gd name="connsiteX16" fmla="*/ 2606752 w 6931793"/>
              <a:gd name="connsiteY16" fmla="*/ 2326566 h 2743892"/>
              <a:gd name="connsiteX17" fmla="*/ 4824902 w 6931793"/>
              <a:gd name="connsiteY17" fmla="*/ 2014795 h 2743892"/>
              <a:gd name="connsiteX18" fmla="*/ 4618527 w 6931793"/>
              <a:gd name="connsiteY18" fmla="*/ 2176270 h 2743892"/>
              <a:gd name="connsiteX19" fmla="*/ 4756110 w 6931793"/>
              <a:gd name="connsiteY19" fmla="*/ 2086943 h 2743892"/>
              <a:gd name="connsiteX20" fmla="*/ 4824902 w 6931793"/>
              <a:gd name="connsiteY20" fmla="*/ 2014795 h 2743892"/>
              <a:gd name="connsiteX21" fmla="*/ 6304819 w 6931793"/>
              <a:gd name="connsiteY21" fmla="*/ 1908432 h 2743892"/>
              <a:gd name="connsiteX22" fmla="*/ 6233015 w 6931793"/>
              <a:gd name="connsiteY22" fmla="*/ 1960198 h 2743892"/>
              <a:gd name="connsiteX23" fmla="*/ 6280884 w 6931793"/>
              <a:gd name="connsiteY23" fmla="*/ 1932589 h 2743892"/>
              <a:gd name="connsiteX24" fmla="*/ 6304819 w 6931793"/>
              <a:gd name="connsiteY24" fmla="*/ 1908432 h 2743892"/>
              <a:gd name="connsiteX25" fmla="*/ 128197 w 6931793"/>
              <a:gd name="connsiteY25" fmla="*/ 0 h 2743892"/>
              <a:gd name="connsiteX26" fmla="*/ 6931793 w 6931793"/>
              <a:gd name="connsiteY26" fmla="*/ 0 h 2743892"/>
              <a:gd name="connsiteX27" fmla="*/ 6931793 w 6931793"/>
              <a:gd name="connsiteY27" fmla="*/ 1156072 h 2743892"/>
              <a:gd name="connsiteX28" fmla="*/ 6899328 w 6931793"/>
              <a:gd name="connsiteY28" fmla="*/ 1227596 h 2743892"/>
              <a:gd name="connsiteX29" fmla="*/ 6585258 w 6931793"/>
              <a:gd name="connsiteY29" fmla="*/ 1408721 h 2743892"/>
              <a:gd name="connsiteX30" fmla="*/ 6324924 w 6931793"/>
              <a:gd name="connsiteY30" fmla="*/ 1377891 h 2743892"/>
              <a:gd name="connsiteX31" fmla="*/ 6304372 w 6931793"/>
              <a:gd name="connsiteY31" fmla="*/ 1545743 h 2743892"/>
              <a:gd name="connsiteX32" fmla="*/ 5495968 w 6931793"/>
              <a:gd name="connsiteY32" fmla="*/ 1494360 h 2743892"/>
              <a:gd name="connsiteX33" fmla="*/ 4975300 w 6931793"/>
              <a:gd name="connsiteY33" fmla="*/ 1367615 h 2743892"/>
              <a:gd name="connsiteX34" fmla="*/ 4454634 w 6931793"/>
              <a:gd name="connsiteY34" fmla="*/ 1610828 h 2743892"/>
              <a:gd name="connsiteX35" fmla="*/ 4122366 w 6931793"/>
              <a:gd name="connsiteY35" fmla="*/ 1045613 h 2743892"/>
              <a:gd name="connsiteX36" fmla="*/ 3680484 w 6931793"/>
              <a:gd name="connsiteY36" fmla="*/ 1405296 h 2743892"/>
              <a:gd name="connsiteX37" fmla="*/ 2909760 w 6931793"/>
              <a:gd name="connsiteY37" fmla="*/ 1576573 h 2743892"/>
              <a:gd name="connsiteX38" fmla="*/ 2265777 w 6931793"/>
              <a:gd name="connsiteY38" fmla="*/ 1867745 h 2743892"/>
              <a:gd name="connsiteX39" fmla="*/ 1936935 w 6931793"/>
              <a:gd name="connsiteY39" fmla="*/ 1305955 h 2743892"/>
              <a:gd name="connsiteX40" fmla="*/ 1741685 w 6931793"/>
              <a:gd name="connsiteY40" fmla="*/ 1326508 h 2743892"/>
              <a:gd name="connsiteX41" fmla="*/ 1714281 w 6931793"/>
              <a:gd name="connsiteY41" fmla="*/ 1364189 h 2743892"/>
              <a:gd name="connsiteX42" fmla="*/ 1238144 w 6931793"/>
              <a:gd name="connsiteY42" fmla="*/ 1521764 h 2743892"/>
              <a:gd name="connsiteX43" fmla="*/ 946982 w 6931793"/>
              <a:gd name="connsiteY43" fmla="*/ 1552594 h 2743892"/>
              <a:gd name="connsiteX44" fmla="*/ 696925 w 6931793"/>
              <a:gd name="connsiteY44" fmla="*/ 1189486 h 2743892"/>
              <a:gd name="connsiteX45" fmla="*/ 142003 w 6931793"/>
              <a:gd name="connsiteY45" fmla="*/ 1103848 h 2743892"/>
              <a:gd name="connsiteX46" fmla="*/ 118025 w 6931793"/>
              <a:gd name="connsiteY46" fmla="*/ 737314 h 2743892"/>
              <a:gd name="connsiteX47" fmla="*/ 296148 w 6931793"/>
              <a:gd name="connsiteY47" fmla="*/ 360504 h 2743892"/>
              <a:gd name="connsiteX48" fmla="*/ 106237 w 6931793"/>
              <a:gd name="connsiteY48" fmla="*/ 20171 h 2743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6931793" h="2743892">
                <a:moveTo>
                  <a:pt x="6266352" y="2627570"/>
                </a:moveTo>
                <a:cubicBezTo>
                  <a:pt x="6266352" y="2627570"/>
                  <a:pt x="6365449" y="2631001"/>
                  <a:pt x="6389369" y="2682467"/>
                </a:cubicBezTo>
                <a:cubicBezTo>
                  <a:pt x="6413290" y="2730502"/>
                  <a:pt x="6467964" y="2696191"/>
                  <a:pt x="6467964" y="2696191"/>
                </a:cubicBezTo>
                <a:cubicBezTo>
                  <a:pt x="6467964" y="2696191"/>
                  <a:pt x="6338112" y="2840295"/>
                  <a:pt x="6266352" y="2627570"/>
                </a:cubicBezTo>
                <a:close/>
                <a:moveTo>
                  <a:pt x="3477848" y="2538670"/>
                </a:moveTo>
                <a:cubicBezTo>
                  <a:pt x="3477848" y="2538670"/>
                  <a:pt x="3600940" y="2689801"/>
                  <a:pt x="3378690" y="2727583"/>
                </a:cubicBezTo>
                <a:cubicBezTo>
                  <a:pt x="3378690" y="2727583"/>
                  <a:pt x="3399206" y="2631409"/>
                  <a:pt x="3450494" y="2614235"/>
                </a:cubicBezTo>
                <a:cubicBezTo>
                  <a:pt x="3501783" y="2597061"/>
                  <a:pt x="3477848" y="2538670"/>
                  <a:pt x="3477848" y="2538670"/>
                </a:cubicBezTo>
                <a:close/>
                <a:moveTo>
                  <a:pt x="1541952" y="2460882"/>
                </a:moveTo>
                <a:cubicBezTo>
                  <a:pt x="1541952" y="2460882"/>
                  <a:pt x="1637749" y="2467693"/>
                  <a:pt x="1661698" y="2515369"/>
                </a:cubicBezTo>
                <a:cubicBezTo>
                  <a:pt x="1689069" y="2563046"/>
                  <a:pt x="1740389" y="2528991"/>
                  <a:pt x="1740389" y="2528991"/>
                </a:cubicBezTo>
                <a:cubicBezTo>
                  <a:pt x="1740389" y="2528991"/>
                  <a:pt x="1610378" y="2672020"/>
                  <a:pt x="1541952" y="2460882"/>
                </a:cubicBezTo>
                <a:close/>
                <a:moveTo>
                  <a:pt x="2606752" y="2326566"/>
                </a:moveTo>
                <a:cubicBezTo>
                  <a:pt x="2632853" y="2326613"/>
                  <a:pt x="2733487" y="2334875"/>
                  <a:pt x="2673181" y="2464058"/>
                </a:cubicBezTo>
                <a:cubicBezTo>
                  <a:pt x="2673181" y="2464058"/>
                  <a:pt x="2624937" y="2412556"/>
                  <a:pt x="2635275" y="2374788"/>
                </a:cubicBezTo>
                <a:cubicBezTo>
                  <a:pt x="2645613" y="2337021"/>
                  <a:pt x="2600815" y="2326720"/>
                  <a:pt x="2600815" y="2326720"/>
                </a:cubicBezTo>
                <a:cubicBezTo>
                  <a:pt x="2600815" y="2326720"/>
                  <a:pt x="2603023" y="2326559"/>
                  <a:pt x="2606752" y="2326566"/>
                </a:cubicBezTo>
                <a:close/>
                <a:moveTo>
                  <a:pt x="4824902" y="2014795"/>
                </a:moveTo>
                <a:cubicBezTo>
                  <a:pt x="4824902" y="2014795"/>
                  <a:pt x="4886814" y="2244983"/>
                  <a:pt x="4618527" y="2176270"/>
                </a:cubicBezTo>
                <a:cubicBezTo>
                  <a:pt x="4618527" y="2176270"/>
                  <a:pt x="4687319" y="2080072"/>
                  <a:pt x="4756110" y="2086943"/>
                </a:cubicBezTo>
                <a:cubicBezTo>
                  <a:pt x="4821462" y="2090379"/>
                  <a:pt x="4824902" y="2014795"/>
                  <a:pt x="4824902" y="2014795"/>
                </a:cubicBezTo>
                <a:close/>
                <a:moveTo>
                  <a:pt x="6304819" y="1908432"/>
                </a:moveTo>
                <a:cubicBezTo>
                  <a:pt x="6304819" y="1908432"/>
                  <a:pt x="6321915" y="1987807"/>
                  <a:pt x="6233015" y="1960198"/>
                </a:cubicBezTo>
                <a:cubicBezTo>
                  <a:pt x="6233015" y="1960198"/>
                  <a:pt x="6260369" y="1929138"/>
                  <a:pt x="6280884" y="1932589"/>
                </a:cubicBezTo>
                <a:cubicBezTo>
                  <a:pt x="6304819" y="1936041"/>
                  <a:pt x="6304819" y="1908432"/>
                  <a:pt x="6304819" y="1908432"/>
                </a:cubicBezTo>
                <a:close/>
                <a:moveTo>
                  <a:pt x="128197" y="0"/>
                </a:moveTo>
                <a:lnTo>
                  <a:pt x="6931793" y="0"/>
                </a:lnTo>
                <a:lnTo>
                  <a:pt x="6931793" y="1156072"/>
                </a:lnTo>
                <a:lnTo>
                  <a:pt x="6899328" y="1227596"/>
                </a:lnTo>
                <a:cubicBezTo>
                  <a:pt x="6860149" y="1324582"/>
                  <a:pt x="6811337" y="1421567"/>
                  <a:pt x="6585258" y="1408721"/>
                </a:cubicBezTo>
                <a:cubicBezTo>
                  <a:pt x="6506472" y="1405296"/>
                  <a:pt x="6413986" y="1395019"/>
                  <a:pt x="6324924" y="1377891"/>
                </a:cubicBezTo>
                <a:cubicBezTo>
                  <a:pt x="6352328" y="1425849"/>
                  <a:pt x="6355753" y="1480658"/>
                  <a:pt x="6304372" y="1545743"/>
                </a:cubicBezTo>
                <a:cubicBezTo>
                  <a:pt x="6109121" y="1792383"/>
                  <a:pt x="5585029" y="1744425"/>
                  <a:pt x="5495968" y="1494360"/>
                </a:cubicBezTo>
                <a:cubicBezTo>
                  <a:pt x="5430884" y="1305955"/>
                  <a:pt x="5208230" y="1395019"/>
                  <a:pt x="4975300" y="1367615"/>
                </a:cubicBezTo>
                <a:cubicBezTo>
                  <a:pt x="4797178" y="1487509"/>
                  <a:pt x="4999278" y="1675914"/>
                  <a:pt x="4454634" y="1610828"/>
                </a:cubicBezTo>
                <a:cubicBezTo>
                  <a:pt x="3820927" y="1532041"/>
                  <a:pt x="4478612" y="1066167"/>
                  <a:pt x="4122366" y="1045613"/>
                </a:cubicBezTo>
                <a:cubicBezTo>
                  <a:pt x="3800374" y="1028486"/>
                  <a:pt x="3968221" y="1353913"/>
                  <a:pt x="3680484" y="1405296"/>
                </a:cubicBezTo>
                <a:cubicBezTo>
                  <a:pt x="3587997" y="1645084"/>
                  <a:pt x="3272857" y="1477232"/>
                  <a:pt x="2909760" y="1576573"/>
                </a:cubicBezTo>
                <a:cubicBezTo>
                  <a:pt x="2526110" y="1679339"/>
                  <a:pt x="2899483" y="1946532"/>
                  <a:pt x="2265777" y="1867745"/>
                </a:cubicBezTo>
                <a:cubicBezTo>
                  <a:pt x="1635496" y="1792383"/>
                  <a:pt x="2293180" y="1326508"/>
                  <a:pt x="1936935" y="1305955"/>
                </a:cubicBezTo>
                <a:cubicBezTo>
                  <a:pt x="1865000" y="1302529"/>
                  <a:pt x="1799917" y="1309380"/>
                  <a:pt x="1741685" y="1326508"/>
                </a:cubicBezTo>
                <a:cubicBezTo>
                  <a:pt x="1734834" y="1340210"/>
                  <a:pt x="1724557" y="1350487"/>
                  <a:pt x="1714281" y="1364189"/>
                </a:cubicBezTo>
                <a:cubicBezTo>
                  <a:pt x="1611518" y="1497785"/>
                  <a:pt x="1412842" y="1542317"/>
                  <a:pt x="1238144" y="1521764"/>
                </a:cubicBezTo>
                <a:cubicBezTo>
                  <a:pt x="1152508" y="1542317"/>
                  <a:pt x="1056596" y="1556020"/>
                  <a:pt x="946982" y="1552594"/>
                </a:cubicBezTo>
                <a:cubicBezTo>
                  <a:pt x="563333" y="1528615"/>
                  <a:pt x="494824" y="1309380"/>
                  <a:pt x="696925" y="1189486"/>
                </a:cubicBezTo>
                <a:cubicBezTo>
                  <a:pt x="542780" y="1186061"/>
                  <a:pt x="326977" y="1227167"/>
                  <a:pt x="142003" y="1103848"/>
                </a:cubicBezTo>
                <a:cubicBezTo>
                  <a:pt x="-162861" y="898315"/>
                  <a:pt x="118025" y="737314"/>
                  <a:pt x="118025" y="737314"/>
                </a:cubicBezTo>
                <a:cubicBezTo>
                  <a:pt x="-128606" y="374207"/>
                  <a:pt x="296148" y="360504"/>
                  <a:pt x="296148" y="360504"/>
                </a:cubicBezTo>
                <a:cubicBezTo>
                  <a:pt x="90622" y="198647"/>
                  <a:pt x="61881" y="91225"/>
                  <a:pt x="106237" y="2017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A41F2941-5CA4-4528-9331-693FF2F694C8}"/>
              </a:ext>
            </a:extLst>
          </p:cNvPr>
          <p:cNvGrpSpPr/>
          <p:nvPr userDrawn="1"/>
        </p:nvGrpSpPr>
        <p:grpSpPr>
          <a:xfrm>
            <a:off x="4285646" y="3216857"/>
            <a:ext cx="7906354" cy="2732345"/>
            <a:chOff x="4285646" y="3216857"/>
            <a:chExt cx="7906354" cy="2732345"/>
          </a:xfrm>
        </p:grpSpPr>
        <p:sp>
          <p:nvSpPr>
            <p:cNvPr id="514" name="任意多边形: 形状 513">
              <a:extLst>
                <a:ext uri="{FF2B5EF4-FFF2-40B4-BE49-F238E27FC236}">
                  <a16:creationId xmlns:a16="http://schemas.microsoft.com/office/drawing/2014/main" id="{57FA1F8F-1725-4718-B6C7-8A9AB0D16BA8}"/>
                </a:ext>
              </a:extLst>
            </p:cNvPr>
            <p:cNvSpPr/>
            <p:nvPr userDrawn="1"/>
          </p:nvSpPr>
          <p:spPr>
            <a:xfrm>
              <a:off x="4285646" y="4578410"/>
              <a:ext cx="7906354" cy="1370792"/>
            </a:xfrm>
            <a:custGeom>
              <a:avLst/>
              <a:gdLst>
                <a:gd name="connsiteX0" fmla="*/ 5883467 w 7906354"/>
                <a:gd name="connsiteY0" fmla="*/ 2019 h 1370792"/>
                <a:gd name="connsiteX1" fmla="*/ 7627016 w 7906354"/>
                <a:gd name="connsiteY1" fmla="*/ 44628 h 1370792"/>
                <a:gd name="connsiteX2" fmla="*/ 7906354 w 7906354"/>
                <a:gd name="connsiteY2" fmla="*/ 62273 h 1370792"/>
                <a:gd name="connsiteX3" fmla="*/ 7906354 w 7906354"/>
                <a:gd name="connsiteY3" fmla="*/ 1189343 h 1370792"/>
                <a:gd name="connsiteX4" fmla="*/ 7844504 w 7906354"/>
                <a:gd name="connsiteY4" fmla="*/ 1208648 h 1370792"/>
                <a:gd name="connsiteX5" fmla="*/ 6160692 w 7906354"/>
                <a:gd name="connsiteY5" fmla="*/ 1200861 h 1370792"/>
                <a:gd name="connsiteX6" fmla="*/ 4310820 w 7906354"/>
                <a:gd name="connsiteY6" fmla="*/ 1104321 h 1370792"/>
                <a:gd name="connsiteX7" fmla="*/ 3025990 w 7906354"/>
                <a:gd name="connsiteY7" fmla="*/ 1256230 h 1370792"/>
                <a:gd name="connsiteX8" fmla="*/ 1336544 w 7906354"/>
                <a:gd name="connsiteY8" fmla="*/ 1104321 h 1370792"/>
                <a:gd name="connsiteX9" fmla="*/ 190845 w 7906354"/>
                <a:gd name="connsiteY9" fmla="*/ 712484 h 1370792"/>
                <a:gd name="connsiteX10" fmla="*/ 58812 w 7906354"/>
                <a:gd name="connsiteY10" fmla="*/ 295090 h 1370792"/>
                <a:gd name="connsiteX11" fmla="*/ 1377715 w 7906354"/>
                <a:gd name="connsiteY11" fmla="*/ 62259 h 1370792"/>
                <a:gd name="connsiteX12" fmla="*/ 5883467 w 7906354"/>
                <a:gd name="connsiteY12" fmla="*/ 2019 h 137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06354" h="1370792">
                  <a:moveTo>
                    <a:pt x="5883467" y="2019"/>
                  </a:moveTo>
                  <a:cubicBezTo>
                    <a:pt x="6515304" y="6574"/>
                    <a:pt x="7120725" y="19282"/>
                    <a:pt x="7627016" y="44628"/>
                  </a:cubicBezTo>
                  <a:lnTo>
                    <a:pt x="7906354" y="62273"/>
                  </a:lnTo>
                  <a:lnTo>
                    <a:pt x="7906354" y="1189343"/>
                  </a:lnTo>
                  <a:lnTo>
                    <a:pt x="7844504" y="1208648"/>
                  </a:lnTo>
                  <a:cubicBezTo>
                    <a:pt x="7458123" y="1303080"/>
                    <a:pt x="6500357" y="1274331"/>
                    <a:pt x="6160692" y="1200861"/>
                  </a:cubicBezTo>
                  <a:cubicBezTo>
                    <a:pt x="5707808" y="1102902"/>
                    <a:pt x="4884380" y="1277525"/>
                    <a:pt x="4310820" y="1104321"/>
                  </a:cubicBezTo>
                  <a:cubicBezTo>
                    <a:pt x="3737261" y="931118"/>
                    <a:pt x="3064322" y="1040435"/>
                    <a:pt x="3025990" y="1256230"/>
                  </a:cubicBezTo>
                  <a:cubicBezTo>
                    <a:pt x="2987658" y="1472024"/>
                    <a:pt x="839648" y="1361288"/>
                    <a:pt x="1336544" y="1104321"/>
                  </a:cubicBezTo>
                  <a:cubicBezTo>
                    <a:pt x="1833440" y="848775"/>
                    <a:pt x="643730" y="837417"/>
                    <a:pt x="190845" y="712484"/>
                  </a:cubicBezTo>
                  <a:cubicBezTo>
                    <a:pt x="-262040" y="587550"/>
                    <a:pt x="260410" y="525083"/>
                    <a:pt x="58812" y="295090"/>
                  </a:cubicBezTo>
                  <a:cubicBezTo>
                    <a:pt x="-142785" y="65099"/>
                    <a:pt x="1377715" y="62259"/>
                    <a:pt x="1377715" y="62259"/>
                  </a:cubicBezTo>
                  <a:cubicBezTo>
                    <a:pt x="1377715" y="62259"/>
                    <a:pt x="3777345" y="-13163"/>
                    <a:pt x="5883467" y="2019"/>
                  </a:cubicBezTo>
                  <a:close/>
                </a:path>
              </a:pathLst>
            </a:custGeom>
            <a:solidFill>
              <a:srgbClr val="A8EEE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1" name="任意多边形: 形状 9980">
              <a:extLst>
                <a:ext uri="{FF2B5EF4-FFF2-40B4-BE49-F238E27FC236}">
                  <a16:creationId xmlns:a16="http://schemas.microsoft.com/office/drawing/2014/main" id="{A641F3ED-AF63-4FC0-BB36-335CDC0BA99B}"/>
                </a:ext>
              </a:extLst>
            </p:cNvPr>
            <p:cNvSpPr/>
            <p:nvPr userDrawn="1"/>
          </p:nvSpPr>
          <p:spPr>
            <a:xfrm>
              <a:off x="10142062" y="5490533"/>
              <a:ext cx="227152" cy="326531"/>
            </a:xfrm>
            <a:custGeom>
              <a:avLst/>
              <a:gdLst>
                <a:gd name="connsiteX0" fmla="*/ 154747 w 227152"/>
                <a:gd name="connsiteY0" fmla="*/ 319433 h 326531"/>
                <a:gd name="connsiteX1" fmla="*/ 0 w 227152"/>
                <a:gd name="connsiteY1" fmla="*/ 0 h 326531"/>
                <a:gd name="connsiteX2" fmla="*/ 194499 w 227152"/>
                <a:gd name="connsiteY2" fmla="*/ 292459 h 326531"/>
                <a:gd name="connsiteX3" fmla="*/ 159007 w 227152"/>
                <a:gd name="connsiteY3" fmla="*/ 92281 h 326531"/>
                <a:gd name="connsiteX4" fmla="*/ 237090 w 227152"/>
                <a:gd name="connsiteY4" fmla="*/ 288200 h 326531"/>
                <a:gd name="connsiteX5" fmla="*/ 154747 w 227152"/>
                <a:gd name="connsiteY5" fmla="*/ 319433 h 326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7152" h="326531">
                  <a:moveTo>
                    <a:pt x="154747" y="319433"/>
                  </a:moveTo>
                  <a:cubicBezTo>
                    <a:pt x="154747" y="319433"/>
                    <a:pt x="110737" y="123514"/>
                    <a:pt x="0" y="0"/>
                  </a:cubicBezTo>
                  <a:cubicBezTo>
                    <a:pt x="0" y="0"/>
                    <a:pt x="143390" y="117835"/>
                    <a:pt x="194499" y="292459"/>
                  </a:cubicBezTo>
                  <a:cubicBezTo>
                    <a:pt x="194499" y="292459"/>
                    <a:pt x="208696" y="188820"/>
                    <a:pt x="159007" y="92281"/>
                  </a:cubicBezTo>
                  <a:cubicBezTo>
                    <a:pt x="159007" y="92281"/>
                    <a:pt x="239930" y="193080"/>
                    <a:pt x="237090" y="288200"/>
                  </a:cubicBezTo>
                  <a:cubicBezTo>
                    <a:pt x="235671" y="381900"/>
                    <a:pt x="154747" y="319433"/>
                    <a:pt x="154747" y="319433"/>
                  </a:cubicBezTo>
                  <a:close/>
                </a:path>
              </a:pathLst>
            </a:custGeom>
            <a:solidFill>
              <a:srgbClr val="D5F7F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2" name="任意多边形: 形状 9981">
              <a:extLst>
                <a:ext uri="{FF2B5EF4-FFF2-40B4-BE49-F238E27FC236}">
                  <a16:creationId xmlns:a16="http://schemas.microsoft.com/office/drawing/2014/main" id="{DAACBFFC-411C-4E05-B14E-A5C60F219788}"/>
                </a:ext>
              </a:extLst>
            </p:cNvPr>
            <p:cNvSpPr/>
            <p:nvPr userDrawn="1"/>
          </p:nvSpPr>
          <p:spPr>
            <a:xfrm>
              <a:off x="5149429" y="3378554"/>
              <a:ext cx="908609" cy="1519081"/>
            </a:xfrm>
            <a:custGeom>
              <a:avLst/>
              <a:gdLst>
                <a:gd name="connsiteX0" fmla="*/ 5679 w 908609"/>
                <a:gd name="connsiteY0" fmla="*/ 1527599 h 1519081"/>
                <a:gd name="connsiteX1" fmla="*/ 912868 w 908609"/>
                <a:gd name="connsiteY1" fmla="*/ 5679 h 1519081"/>
                <a:gd name="connsiteX2" fmla="*/ 910029 w 908609"/>
                <a:gd name="connsiteY2" fmla="*/ 0 h 1519081"/>
                <a:gd name="connsiteX3" fmla="*/ 0 w 908609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8609" h="1519081">
                  <a:moveTo>
                    <a:pt x="5679" y="1527599"/>
                  </a:moveTo>
                  <a:lnTo>
                    <a:pt x="912868" y="5679"/>
                  </a:lnTo>
                  <a:lnTo>
                    <a:pt x="910029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3" name="任意多边形: 形状 9982">
              <a:extLst>
                <a:ext uri="{FF2B5EF4-FFF2-40B4-BE49-F238E27FC236}">
                  <a16:creationId xmlns:a16="http://schemas.microsoft.com/office/drawing/2014/main" id="{7C114838-BB52-4FFF-B430-9377EE274EB6}"/>
                </a:ext>
              </a:extLst>
            </p:cNvPr>
            <p:cNvSpPr/>
            <p:nvPr userDrawn="1"/>
          </p:nvSpPr>
          <p:spPr>
            <a:xfrm>
              <a:off x="6421482" y="3829356"/>
              <a:ext cx="283940" cy="283940"/>
            </a:xfrm>
            <a:custGeom>
              <a:avLst/>
              <a:gdLst>
                <a:gd name="connsiteX0" fmla="*/ 14197 w 283940"/>
                <a:gd name="connsiteY0" fmla="*/ 295961 h 283940"/>
                <a:gd name="connsiteX1" fmla="*/ 93700 w 283940"/>
                <a:gd name="connsiteY1" fmla="*/ 195163 h 283940"/>
                <a:gd name="connsiteX2" fmla="*/ 203017 w 283940"/>
                <a:gd name="connsiteY2" fmla="*/ 36156 h 283940"/>
                <a:gd name="connsiteX3" fmla="*/ 295298 w 283940"/>
                <a:gd name="connsiteY3" fmla="*/ 6342 h 283940"/>
                <a:gd name="connsiteX4" fmla="*/ 295298 w 283940"/>
                <a:gd name="connsiteY4" fmla="*/ 663 h 283940"/>
                <a:gd name="connsiteX5" fmla="*/ 181722 w 283940"/>
                <a:gd name="connsiteY5" fmla="*/ 36156 h 283940"/>
                <a:gd name="connsiteX6" fmla="*/ 85182 w 283940"/>
                <a:gd name="connsiteY6" fmla="*/ 173867 h 283940"/>
                <a:gd name="connsiteX7" fmla="*/ 0 w 283940"/>
                <a:gd name="connsiteY7" fmla="*/ 224976 h 283940"/>
                <a:gd name="connsiteX8" fmla="*/ 14197 w 283940"/>
                <a:gd name="connsiteY8" fmla="*/ 295961 h 28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940" h="283940">
                  <a:moveTo>
                    <a:pt x="14197" y="295961"/>
                  </a:moveTo>
                  <a:cubicBezTo>
                    <a:pt x="14197" y="295961"/>
                    <a:pt x="29814" y="200841"/>
                    <a:pt x="93700" y="195163"/>
                  </a:cubicBezTo>
                  <a:cubicBezTo>
                    <a:pt x="156167" y="189484"/>
                    <a:pt x="161846" y="61711"/>
                    <a:pt x="203017" y="36156"/>
                  </a:cubicBezTo>
                  <a:cubicBezTo>
                    <a:pt x="242769" y="10601"/>
                    <a:pt x="295298" y="6342"/>
                    <a:pt x="295298" y="6342"/>
                  </a:cubicBezTo>
                  <a:lnTo>
                    <a:pt x="295298" y="663"/>
                  </a:lnTo>
                  <a:cubicBezTo>
                    <a:pt x="295298" y="663"/>
                    <a:pt x="224313" y="-7855"/>
                    <a:pt x="181722" y="36156"/>
                  </a:cubicBezTo>
                  <a:cubicBezTo>
                    <a:pt x="139131" y="80167"/>
                    <a:pt x="141970" y="168188"/>
                    <a:pt x="85182" y="173867"/>
                  </a:cubicBezTo>
                  <a:cubicBezTo>
                    <a:pt x="28394" y="180966"/>
                    <a:pt x="0" y="224976"/>
                    <a:pt x="0" y="224976"/>
                  </a:cubicBezTo>
                  <a:lnTo>
                    <a:pt x="14197" y="295961"/>
                  </a:lnTo>
                  <a:close/>
                </a:path>
              </a:pathLst>
            </a:custGeom>
            <a:solidFill>
              <a:srgbClr val="F0E1D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4" name="任意多边形: 形状 9983">
              <a:extLst>
                <a:ext uri="{FF2B5EF4-FFF2-40B4-BE49-F238E27FC236}">
                  <a16:creationId xmlns:a16="http://schemas.microsoft.com/office/drawing/2014/main" id="{6FC19F7E-1B87-4E9A-BB55-A5931875E910}"/>
                </a:ext>
              </a:extLst>
            </p:cNvPr>
            <p:cNvSpPr/>
            <p:nvPr userDrawn="1"/>
          </p:nvSpPr>
          <p:spPr>
            <a:xfrm>
              <a:off x="10028314" y="3789710"/>
              <a:ext cx="1178353" cy="809230"/>
            </a:xfrm>
            <a:custGeom>
              <a:avLst/>
              <a:gdLst>
                <a:gd name="connsiteX0" fmla="*/ 114207 w 1178352"/>
                <a:gd name="connsiteY0" fmla="*/ 609610 h 809230"/>
                <a:gd name="connsiteX1" fmla="*/ 114207 w 1178352"/>
                <a:gd name="connsiteY1" fmla="*/ 287338 h 809230"/>
                <a:gd name="connsiteX2" fmla="*/ 398148 w 1178352"/>
                <a:gd name="connsiteY2" fmla="*/ 3397 h 809230"/>
                <a:gd name="connsiteX3" fmla="*/ 594066 w 1178352"/>
                <a:gd name="connsiteY3" fmla="*/ 239068 h 809230"/>
                <a:gd name="connsiteX4" fmla="*/ 808441 w 1178352"/>
                <a:gd name="connsiteY4" fmla="*/ 415111 h 809230"/>
                <a:gd name="connsiteX5" fmla="*/ 1002941 w 1178352"/>
                <a:gd name="connsiteY5" fmla="*/ 608190 h 809230"/>
                <a:gd name="connsiteX6" fmla="*/ 1152009 w 1178352"/>
                <a:gd name="connsiteY6" fmla="*/ 777135 h 809230"/>
                <a:gd name="connsiteX7" fmla="*/ 233462 w 1178352"/>
                <a:gd name="connsiteY7" fmla="*/ 801270 h 809230"/>
                <a:gd name="connsiteX8" fmla="*/ 114207 w 1178352"/>
                <a:gd name="connsiteY8" fmla="*/ 609610 h 80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8352" h="809230">
                  <a:moveTo>
                    <a:pt x="114207" y="609610"/>
                  </a:moveTo>
                  <a:cubicBezTo>
                    <a:pt x="114207" y="609610"/>
                    <a:pt x="-142759" y="373939"/>
                    <a:pt x="114207" y="287338"/>
                  </a:cubicBezTo>
                  <a:cubicBezTo>
                    <a:pt x="371173" y="200736"/>
                    <a:pt x="280313" y="-30676"/>
                    <a:pt x="398148" y="3397"/>
                  </a:cubicBezTo>
                  <a:cubicBezTo>
                    <a:pt x="515983" y="38890"/>
                    <a:pt x="446417" y="229130"/>
                    <a:pt x="594066" y="239068"/>
                  </a:cubicBezTo>
                  <a:cubicBezTo>
                    <a:pt x="741716" y="249006"/>
                    <a:pt x="805602" y="237648"/>
                    <a:pt x="808441" y="415111"/>
                  </a:cubicBezTo>
                  <a:cubicBezTo>
                    <a:pt x="811281" y="592574"/>
                    <a:pt x="849613" y="525848"/>
                    <a:pt x="1002941" y="608190"/>
                  </a:cubicBezTo>
                  <a:cubicBezTo>
                    <a:pt x="1156268" y="690533"/>
                    <a:pt x="1232932" y="721766"/>
                    <a:pt x="1152009" y="777135"/>
                  </a:cubicBezTo>
                  <a:cubicBezTo>
                    <a:pt x="1072506" y="831084"/>
                    <a:pt x="233462" y="801270"/>
                    <a:pt x="233462" y="801270"/>
                  </a:cubicBezTo>
                  <a:lnTo>
                    <a:pt x="114207" y="609610"/>
                  </a:lnTo>
                  <a:close/>
                </a:path>
              </a:pathLst>
            </a:custGeom>
            <a:solidFill>
              <a:srgbClr val="EDDCC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6" name="任意多边形: 形状 9985">
              <a:extLst>
                <a:ext uri="{FF2B5EF4-FFF2-40B4-BE49-F238E27FC236}">
                  <a16:creationId xmlns:a16="http://schemas.microsoft.com/office/drawing/2014/main" id="{1D28C2A9-F46F-4F67-B12F-4ECE44BFD041}"/>
                </a:ext>
              </a:extLst>
            </p:cNvPr>
            <p:cNvSpPr/>
            <p:nvPr userDrawn="1"/>
          </p:nvSpPr>
          <p:spPr>
            <a:xfrm>
              <a:off x="5760542" y="4315090"/>
              <a:ext cx="1135762" cy="425911"/>
            </a:xfrm>
            <a:custGeom>
              <a:avLst/>
              <a:gdLst>
                <a:gd name="connsiteX0" fmla="*/ 10716 w 1135761"/>
                <a:gd name="connsiteY0" fmla="*/ 426379 h 425910"/>
                <a:gd name="connsiteX1" fmla="*/ 66085 w 1135761"/>
                <a:gd name="connsiteY1" fmla="*/ 277310 h 425910"/>
                <a:gd name="connsiteX2" fmla="*/ 144168 w 1135761"/>
                <a:gd name="connsiteY2" fmla="*/ 78551 h 425910"/>
                <a:gd name="connsiteX3" fmla="*/ 277620 w 1135761"/>
                <a:gd name="connsiteY3" fmla="*/ 14665 h 425910"/>
                <a:gd name="connsiteX4" fmla="*/ 510451 w 1135761"/>
                <a:gd name="connsiteY4" fmla="*/ 142438 h 425910"/>
                <a:gd name="connsiteX5" fmla="*/ 683655 w 1135761"/>
                <a:gd name="connsiteY5" fmla="*/ 231879 h 425910"/>
                <a:gd name="connsiteX6" fmla="*/ 1145058 w 1135761"/>
                <a:gd name="connsiteY6" fmla="*/ 427798 h 425910"/>
                <a:gd name="connsiteX7" fmla="*/ 10716 w 1135761"/>
                <a:gd name="connsiteY7" fmla="*/ 427798 h 42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761" h="425910">
                  <a:moveTo>
                    <a:pt x="10716" y="426379"/>
                  </a:moveTo>
                  <a:cubicBezTo>
                    <a:pt x="10716" y="426379"/>
                    <a:pt x="-36134" y="335518"/>
                    <a:pt x="66085" y="277310"/>
                  </a:cubicBezTo>
                  <a:cubicBezTo>
                    <a:pt x="66085" y="277310"/>
                    <a:pt x="-10579" y="104106"/>
                    <a:pt x="144168" y="78551"/>
                  </a:cubicBezTo>
                  <a:cubicBezTo>
                    <a:pt x="144168" y="78551"/>
                    <a:pt x="222252" y="-40704"/>
                    <a:pt x="277620" y="14665"/>
                  </a:cubicBezTo>
                  <a:cubicBezTo>
                    <a:pt x="277620" y="14665"/>
                    <a:pt x="487736" y="-10890"/>
                    <a:pt x="510451" y="142438"/>
                  </a:cubicBezTo>
                  <a:cubicBezTo>
                    <a:pt x="510451" y="142438"/>
                    <a:pt x="683655" y="116883"/>
                    <a:pt x="683655" y="231879"/>
                  </a:cubicBezTo>
                  <a:cubicBezTo>
                    <a:pt x="683655" y="231879"/>
                    <a:pt x="1145058" y="236138"/>
                    <a:pt x="1145058" y="427798"/>
                  </a:cubicBezTo>
                  <a:lnTo>
                    <a:pt x="10716" y="427798"/>
                  </a:lnTo>
                  <a:close/>
                </a:path>
              </a:pathLst>
            </a:custGeom>
            <a:solidFill>
              <a:srgbClr val="EDDCC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7" name="任意多边形: 形状 9986">
              <a:extLst>
                <a:ext uri="{FF2B5EF4-FFF2-40B4-BE49-F238E27FC236}">
                  <a16:creationId xmlns:a16="http://schemas.microsoft.com/office/drawing/2014/main" id="{DB534980-D077-49A7-9CC5-51ED146703FF}"/>
                </a:ext>
              </a:extLst>
            </p:cNvPr>
            <p:cNvSpPr/>
            <p:nvPr userDrawn="1"/>
          </p:nvSpPr>
          <p:spPr>
            <a:xfrm>
              <a:off x="7270464" y="3382813"/>
              <a:ext cx="1334520" cy="1476490"/>
            </a:xfrm>
            <a:custGeom>
              <a:avLst/>
              <a:gdLst>
                <a:gd name="connsiteX0" fmla="*/ 668680 w 1334519"/>
                <a:gd name="connsiteY0" fmla="*/ 0 h 1476490"/>
                <a:gd name="connsiteX1" fmla="*/ 1337359 w 1334519"/>
                <a:gd name="connsiteY1" fmla="*/ 1485008 h 1476490"/>
                <a:gd name="connsiteX2" fmla="*/ 668680 w 1334519"/>
                <a:gd name="connsiteY2" fmla="*/ 1485008 h 1476490"/>
                <a:gd name="connsiteX3" fmla="*/ 0 w 1334519"/>
                <a:gd name="connsiteY3" fmla="*/ 1485008 h 1476490"/>
                <a:gd name="connsiteX4" fmla="*/ 522450 w 1334519"/>
                <a:gd name="connsiteY4" fmla="*/ 298137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4519" h="1476490">
                  <a:moveTo>
                    <a:pt x="668680" y="0"/>
                  </a:moveTo>
                  <a:lnTo>
                    <a:pt x="1337359" y="1485008"/>
                  </a:lnTo>
                  <a:lnTo>
                    <a:pt x="668680" y="1485008"/>
                  </a:lnTo>
                  <a:lnTo>
                    <a:pt x="0" y="1485008"/>
                  </a:lnTo>
                  <a:lnTo>
                    <a:pt x="522450" y="298137"/>
                  </a:lnTo>
                  <a:close/>
                </a:path>
              </a:pathLst>
            </a:custGeom>
            <a:solidFill>
              <a:srgbClr val="01ACE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8" name="任意多边形: 形状 9987">
              <a:extLst>
                <a:ext uri="{FF2B5EF4-FFF2-40B4-BE49-F238E27FC236}">
                  <a16:creationId xmlns:a16="http://schemas.microsoft.com/office/drawing/2014/main" id="{F9423F85-7230-4DAF-9606-8C97BFFBE334}"/>
                </a:ext>
              </a:extLst>
            </p:cNvPr>
            <p:cNvSpPr/>
            <p:nvPr userDrawn="1"/>
          </p:nvSpPr>
          <p:spPr>
            <a:xfrm>
              <a:off x="7614031" y="3382813"/>
              <a:ext cx="525290" cy="1476490"/>
            </a:xfrm>
            <a:custGeom>
              <a:avLst/>
              <a:gdLst>
                <a:gd name="connsiteX0" fmla="*/ 0 w 525289"/>
                <a:gd name="connsiteY0" fmla="*/ 1485008 h 1476490"/>
                <a:gd name="connsiteX1" fmla="*/ 325112 w 525289"/>
                <a:gd name="connsiteY1" fmla="*/ 0 h 1476490"/>
                <a:gd name="connsiteX2" fmla="*/ 532388 w 525289"/>
                <a:gd name="connsiteY2" fmla="*/ 148500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5289" h="1476490">
                  <a:moveTo>
                    <a:pt x="0" y="1485008"/>
                  </a:moveTo>
                  <a:lnTo>
                    <a:pt x="325112" y="0"/>
                  </a:lnTo>
                  <a:lnTo>
                    <a:pt x="532388" y="1485008"/>
                  </a:lnTo>
                  <a:close/>
                </a:path>
              </a:pathLst>
            </a:custGeom>
            <a:solidFill>
              <a:srgbClr val="01789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9" name="任意多边形: 形状 9988">
              <a:extLst>
                <a:ext uri="{FF2B5EF4-FFF2-40B4-BE49-F238E27FC236}">
                  <a16:creationId xmlns:a16="http://schemas.microsoft.com/office/drawing/2014/main" id="{0FAB4AA9-37C5-4565-9B0D-E9E8DA5F8B35}"/>
                </a:ext>
              </a:extLst>
            </p:cNvPr>
            <p:cNvSpPr/>
            <p:nvPr userDrawn="1"/>
          </p:nvSpPr>
          <p:spPr>
            <a:xfrm>
              <a:off x="5390778" y="3378554"/>
              <a:ext cx="2541267" cy="1476490"/>
            </a:xfrm>
            <a:custGeom>
              <a:avLst/>
              <a:gdLst>
                <a:gd name="connsiteX0" fmla="*/ 668680 w 2541266"/>
                <a:gd name="connsiteY0" fmla="*/ 0 h 1476490"/>
                <a:gd name="connsiteX1" fmla="*/ 2548365 w 2541266"/>
                <a:gd name="connsiteY1" fmla="*/ 0 h 1476490"/>
                <a:gd name="connsiteX2" fmla="*/ 1879685 w 2541266"/>
                <a:gd name="connsiteY2" fmla="*/ 1489268 h 1476490"/>
                <a:gd name="connsiteX3" fmla="*/ 0 w 2541266"/>
                <a:gd name="connsiteY3" fmla="*/ 148926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1266" h="1476490">
                  <a:moveTo>
                    <a:pt x="668680" y="0"/>
                  </a:moveTo>
                  <a:lnTo>
                    <a:pt x="2548365" y="0"/>
                  </a:lnTo>
                  <a:lnTo>
                    <a:pt x="1879685" y="1489268"/>
                  </a:lnTo>
                  <a:lnTo>
                    <a:pt x="0" y="1489268"/>
                  </a:lnTo>
                  <a:close/>
                </a:path>
              </a:pathLst>
            </a:custGeom>
            <a:solidFill>
              <a:srgbClr val="44D2F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0" name="任意多边形: 形状 9989">
              <a:extLst>
                <a:ext uri="{FF2B5EF4-FFF2-40B4-BE49-F238E27FC236}">
                  <a16:creationId xmlns:a16="http://schemas.microsoft.com/office/drawing/2014/main" id="{84149901-F4B6-42DB-B6D2-D4D4BDEA911C}"/>
                </a:ext>
              </a:extLst>
            </p:cNvPr>
            <p:cNvSpPr/>
            <p:nvPr userDrawn="1"/>
          </p:nvSpPr>
          <p:spPr>
            <a:xfrm>
              <a:off x="7070286" y="3378554"/>
              <a:ext cx="866018" cy="1519081"/>
            </a:xfrm>
            <a:custGeom>
              <a:avLst/>
              <a:gdLst>
                <a:gd name="connsiteX0" fmla="*/ 4259 w 866018"/>
                <a:gd name="connsiteY0" fmla="*/ 1527599 h 1519081"/>
                <a:gd name="connsiteX1" fmla="*/ 871697 w 866018"/>
                <a:gd name="connsiteY1" fmla="*/ 5679 h 1519081"/>
                <a:gd name="connsiteX2" fmla="*/ 868857 w 866018"/>
                <a:gd name="connsiteY2" fmla="*/ 0 h 1519081"/>
                <a:gd name="connsiteX3" fmla="*/ 0 w 866018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6018" h="1519081">
                  <a:moveTo>
                    <a:pt x="4259" y="1527599"/>
                  </a:moveTo>
                  <a:lnTo>
                    <a:pt x="871697" y="5679"/>
                  </a:lnTo>
                  <a:lnTo>
                    <a:pt x="868857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1" name="任意多边形: 形状 9990">
              <a:extLst>
                <a:ext uri="{FF2B5EF4-FFF2-40B4-BE49-F238E27FC236}">
                  <a16:creationId xmlns:a16="http://schemas.microsoft.com/office/drawing/2014/main" id="{2642751A-D154-4F56-8424-B440BFD33C2C}"/>
                </a:ext>
              </a:extLst>
            </p:cNvPr>
            <p:cNvSpPr/>
            <p:nvPr userDrawn="1"/>
          </p:nvSpPr>
          <p:spPr>
            <a:xfrm>
              <a:off x="7936304" y="3378554"/>
              <a:ext cx="993791" cy="1490687"/>
            </a:xfrm>
            <a:custGeom>
              <a:avLst/>
              <a:gdLst>
                <a:gd name="connsiteX0" fmla="*/ 988113 w 993791"/>
                <a:gd name="connsiteY0" fmla="*/ 1494946 h 1490687"/>
                <a:gd name="connsiteX1" fmla="*/ 993791 w 993791"/>
                <a:gd name="connsiteY1" fmla="*/ 1490687 h 1490687"/>
                <a:gd name="connsiteX2" fmla="*/ 2839 w 993791"/>
                <a:gd name="connsiteY2" fmla="*/ 0 h 1490687"/>
                <a:gd name="connsiteX3" fmla="*/ 0 w 993791"/>
                <a:gd name="connsiteY3" fmla="*/ 5679 h 149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3791" h="1490687">
                  <a:moveTo>
                    <a:pt x="988113" y="1494946"/>
                  </a:moveTo>
                  <a:lnTo>
                    <a:pt x="993791" y="1490687"/>
                  </a:lnTo>
                  <a:lnTo>
                    <a:pt x="2839" y="0"/>
                  </a:lnTo>
                  <a:lnTo>
                    <a:pt x="0" y="5679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1" name="任意多边形: 形状 510">
              <a:extLst>
                <a:ext uri="{FF2B5EF4-FFF2-40B4-BE49-F238E27FC236}">
                  <a16:creationId xmlns:a16="http://schemas.microsoft.com/office/drawing/2014/main" id="{340B7BC1-AB27-46A0-8CE6-1BD5DCB0C873}"/>
                </a:ext>
              </a:extLst>
            </p:cNvPr>
            <p:cNvSpPr/>
            <p:nvPr userDrawn="1"/>
          </p:nvSpPr>
          <p:spPr>
            <a:xfrm>
              <a:off x="10409425" y="3294596"/>
              <a:ext cx="1782575" cy="1573226"/>
            </a:xfrm>
            <a:custGeom>
              <a:avLst/>
              <a:gdLst>
                <a:gd name="connsiteX0" fmla="*/ 412072 w 1782575"/>
                <a:gd name="connsiteY0" fmla="*/ 150 h 1573226"/>
                <a:gd name="connsiteX1" fmla="*/ 1720443 w 1782575"/>
                <a:gd name="connsiteY1" fmla="*/ 600871 h 1573226"/>
                <a:gd name="connsiteX2" fmla="*/ 1782575 w 1782575"/>
                <a:gd name="connsiteY2" fmla="*/ 682726 h 1573226"/>
                <a:gd name="connsiteX3" fmla="*/ 1782575 w 1782575"/>
                <a:gd name="connsiteY3" fmla="*/ 1573226 h 1573226"/>
                <a:gd name="connsiteX4" fmla="*/ 938423 w 1782575"/>
                <a:gd name="connsiteY4" fmla="*/ 1573226 h 1573226"/>
                <a:gd name="connsiteX5" fmla="*/ 0 w 1782575"/>
                <a:gd name="connsiteY5" fmla="*/ 38528 h 1573226"/>
                <a:gd name="connsiteX6" fmla="*/ 412072 w 1782575"/>
                <a:gd name="connsiteY6" fmla="*/ 150 h 157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82575" h="1573226">
                  <a:moveTo>
                    <a:pt x="412072" y="150"/>
                  </a:moveTo>
                  <a:cubicBezTo>
                    <a:pt x="778544" y="4556"/>
                    <a:pt x="1317269" y="108532"/>
                    <a:pt x="1720443" y="600871"/>
                  </a:cubicBezTo>
                  <a:lnTo>
                    <a:pt x="1782575" y="682726"/>
                  </a:lnTo>
                  <a:lnTo>
                    <a:pt x="1782575" y="1573226"/>
                  </a:lnTo>
                  <a:lnTo>
                    <a:pt x="938423" y="1573226"/>
                  </a:lnTo>
                  <a:lnTo>
                    <a:pt x="0" y="38528"/>
                  </a:lnTo>
                  <a:cubicBezTo>
                    <a:pt x="0" y="38528"/>
                    <a:pt x="167758" y="-2788"/>
                    <a:pt x="412072" y="150"/>
                  </a:cubicBezTo>
                  <a:close/>
                </a:path>
              </a:pathLst>
            </a:custGeom>
            <a:solidFill>
              <a:srgbClr val="F9DB5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3" name="任意多边形: 形状 9992">
              <a:extLst>
                <a:ext uri="{FF2B5EF4-FFF2-40B4-BE49-F238E27FC236}">
                  <a16:creationId xmlns:a16="http://schemas.microsoft.com/office/drawing/2014/main" id="{EE01689F-8AE1-4479-A103-53EE7E30A3CE}"/>
                </a:ext>
              </a:extLst>
            </p:cNvPr>
            <p:cNvSpPr/>
            <p:nvPr userDrawn="1"/>
          </p:nvSpPr>
          <p:spPr>
            <a:xfrm>
              <a:off x="9239590" y="3333124"/>
              <a:ext cx="2101159" cy="1533278"/>
            </a:xfrm>
            <a:custGeom>
              <a:avLst/>
              <a:gdLst>
                <a:gd name="connsiteX0" fmla="*/ 1169834 w 2101158"/>
                <a:gd name="connsiteY0" fmla="*/ 0 h 1533278"/>
                <a:gd name="connsiteX1" fmla="*/ 0 w 2101158"/>
                <a:gd name="connsiteY1" fmla="*/ 1534698 h 1533278"/>
                <a:gd name="connsiteX2" fmla="*/ 1169834 w 2101158"/>
                <a:gd name="connsiteY2" fmla="*/ 1534698 h 1533278"/>
                <a:gd name="connsiteX3" fmla="*/ 2108258 w 2101158"/>
                <a:gd name="connsiteY3" fmla="*/ 1534698 h 1533278"/>
                <a:gd name="connsiteX4" fmla="*/ 1169834 w 2101158"/>
                <a:gd name="connsiteY4" fmla="*/ 0 h 1533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1158" h="1533278">
                  <a:moveTo>
                    <a:pt x="1169834" y="0"/>
                  </a:moveTo>
                  <a:cubicBezTo>
                    <a:pt x="315174" y="354926"/>
                    <a:pt x="0" y="1534698"/>
                    <a:pt x="0" y="1534698"/>
                  </a:cubicBezTo>
                  <a:lnTo>
                    <a:pt x="1169834" y="1534698"/>
                  </a:lnTo>
                  <a:lnTo>
                    <a:pt x="2108258" y="1534698"/>
                  </a:lnTo>
                  <a:cubicBezTo>
                    <a:pt x="2108258" y="1534698"/>
                    <a:pt x="1973386" y="577819"/>
                    <a:pt x="1169834" y="0"/>
                  </a:cubicBezTo>
                  <a:close/>
                </a:path>
              </a:pathLst>
            </a:custGeom>
            <a:solidFill>
              <a:srgbClr val="F5BB1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4" name="任意多边形: 形状 9993">
              <a:extLst>
                <a:ext uri="{FF2B5EF4-FFF2-40B4-BE49-F238E27FC236}">
                  <a16:creationId xmlns:a16="http://schemas.microsoft.com/office/drawing/2014/main" id="{625125C8-824C-426B-8E9F-DC818B07E9FF}"/>
                </a:ext>
              </a:extLst>
            </p:cNvPr>
            <p:cNvSpPr/>
            <p:nvPr userDrawn="1"/>
          </p:nvSpPr>
          <p:spPr>
            <a:xfrm>
              <a:off x="9560443" y="3829388"/>
              <a:ext cx="1320323" cy="1036383"/>
            </a:xfrm>
            <a:custGeom>
              <a:avLst/>
              <a:gdLst>
                <a:gd name="connsiteX0" fmla="*/ 0 w 1320322"/>
                <a:gd name="connsiteY0" fmla="*/ 1038433 h 1036382"/>
                <a:gd name="connsiteX1" fmla="*/ 1327421 w 1320322"/>
                <a:gd name="connsiteY1" fmla="*/ 1038433 h 1036382"/>
                <a:gd name="connsiteX2" fmla="*/ 787935 w 1320322"/>
                <a:gd name="connsiteY2" fmla="*/ 631 h 1036382"/>
                <a:gd name="connsiteX3" fmla="*/ 742504 w 1320322"/>
                <a:gd name="connsiteY3" fmla="*/ 631 h 1036382"/>
                <a:gd name="connsiteX4" fmla="*/ 0 w 1320322"/>
                <a:gd name="connsiteY4" fmla="*/ 1038433 h 10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22" h="1036382">
                  <a:moveTo>
                    <a:pt x="0" y="1038433"/>
                  </a:moveTo>
                  <a:lnTo>
                    <a:pt x="1327421" y="1038433"/>
                  </a:lnTo>
                  <a:cubicBezTo>
                    <a:pt x="1327421" y="1038433"/>
                    <a:pt x="1327421" y="223524"/>
                    <a:pt x="787935" y="631"/>
                  </a:cubicBezTo>
                  <a:cubicBezTo>
                    <a:pt x="787935" y="631"/>
                    <a:pt x="770898" y="-789"/>
                    <a:pt x="742504" y="631"/>
                  </a:cubicBezTo>
                  <a:cubicBezTo>
                    <a:pt x="596275" y="7730"/>
                    <a:pt x="137711" y="108528"/>
                    <a:pt x="0" y="1038433"/>
                  </a:cubicBezTo>
                  <a:close/>
                </a:path>
              </a:pathLst>
            </a:custGeom>
            <a:solidFill>
              <a:srgbClr val="CC5C3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5" name="任意多边形: 形状 9994">
              <a:extLst>
                <a:ext uri="{FF2B5EF4-FFF2-40B4-BE49-F238E27FC236}">
                  <a16:creationId xmlns:a16="http://schemas.microsoft.com/office/drawing/2014/main" id="{00E891B0-D4C3-4AF7-B71E-7B95D3560DB6}"/>
                </a:ext>
              </a:extLst>
            </p:cNvPr>
            <p:cNvSpPr/>
            <p:nvPr userDrawn="1"/>
          </p:nvSpPr>
          <p:spPr>
            <a:xfrm>
              <a:off x="9087682" y="3238004"/>
              <a:ext cx="2370902" cy="1618460"/>
            </a:xfrm>
            <a:custGeom>
              <a:avLst/>
              <a:gdLst>
                <a:gd name="connsiteX0" fmla="*/ 5679 w 2370902"/>
                <a:gd name="connsiteY0" fmla="*/ 1629818 h 1618460"/>
                <a:gd name="connsiteX1" fmla="*/ 762380 w 2370902"/>
                <a:gd name="connsiteY1" fmla="*/ 346407 h 1618460"/>
                <a:gd name="connsiteX2" fmla="*/ 1320323 w 2370902"/>
                <a:gd name="connsiteY2" fmla="*/ 7099 h 1618460"/>
                <a:gd name="connsiteX3" fmla="*/ 2209056 w 2370902"/>
                <a:gd name="connsiteY3" fmla="*/ 1037802 h 1618460"/>
                <a:gd name="connsiteX4" fmla="*/ 2373742 w 2370902"/>
                <a:gd name="connsiteY4" fmla="*/ 1629818 h 1618460"/>
                <a:gd name="connsiteX5" fmla="*/ 2379420 w 2370902"/>
                <a:gd name="connsiteY5" fmla="*/ 1629818 h 1618460"/>
                <a:gd name="connsiteX6" fmla="*/ 2213315 w 2370902"/>
                <a:gd name="connsiteY6" fmla="*/ 1036383 h 1618460"/>
                <a:gd name="connsiteX7" fmla="*/ 1895302 w 2370902"/>
                <a:gd name="connsiteY7" fmla="*/ 503994 h 1618460"/>
                <a:gd name="connsiteX8" fmla="*/ 1323162 w 2370902"/>
                <a:gd name="connsiteY8" fmla="*/ 1420 h 1618460"/>
                <a:gd name="connsiteX9" fmla="*/ 1321742 w 2370902"/>
                <a:gd name="connsiteY9" fmla="*/ 0 h 1618460"/>
                <a:gd name="connsiteX10" fmla="*/ 1320323 w 2370902"/>
                <a:gd name="connsiteY10" fmla="*/ 0 h 1618460"/>
                <a:gd name="connsiteX11" fmla="*/ 758121 w 2370902"/>
                <a:gd name="connsiteY11" fmla="*/ 340729 h 1618460"/>
                <a:gd name="connsiteX12" fmla="*/ 316593 w 2370902"/>
                <a:gd name="connsiteY12" fmla="*/ 840464 h 1618460"/>
                <a:gd name="connsiteX13" fmla="*/ 0 w 2370902"/>
                <a:gd name="connsiteY13" fmla="*/ 1626979 h 1618460"/>
                <a:gd name="connsiteX14" fmla="*/ 5679 w 2370902"/>
                <a:gd name="connsiteY14" fmla="*/ 1629818 h 1618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70902" h="1618460">
                  <a:moveTo>
                    <a:pt x="5679" y="1629818"/>
                  </a:moveTo>
                  <a:cubicBezTo>
                    <a:pt x="140550" y="979594"/>
                    <a:pt x="491217" y="572140"/>
                    <a:pt x="762380" y="346407"/>
                  </a:cubicBezTo>
                  <a:cubicBezTo>
                    <a:pt x="1044900" y="110737"/>
                    <a:pt x="1300447" y="15617"/>
                    <a:pt x="1320323" y="7099"/>
                  </a:cubicBezTo>
                  <a:cubicBezTo>
                    <a:pt x="1818638" y="309495"/>
                    <a:pt x="2078444" y="733986"/>
                    <a:pt x="2209056" y="1037802"/>
                  </a:cubicBezTo>
                  <a:cubicBezTo>
                    <a:pt x="2351026" y="1367173"/>
                    <a:pt x="2373742" y="1626979"/>
                    <a:pt x="2373742" y="1629818"/>
                  </a:cubicBezTo>
                  <a:lnTo>
                    <a:pt x="2379420" y="1629818"/>
                  </a:lnTo>
                  <a:cubicBezTo>
                    <a:pt x="2379420" y="1626979"/>
                    <a:pt x="2355286" y="1365753"/>
                    <a:pt x="2213315" y="1036383"/>
                  </a:cubicBezTo>
                  <a:cubicBezTo>
                    <a:pt x="2129553" y="843303"/>
                    <a:pt x="2023075" y="664421"/>
                    <a:pt x="1895302" y="503994"/>
                  </a:cubicBezTo>
                  <a:cubicBezTo>
                    <a:pt x="1737715" y="303816"/>
                    <a:pt x="1544636" y="134872"/>
                    <a:pt x="1323162" y="1420"/>
                  </a:cubicBezTo>
                  <a:lnTo>
                    <a:pt x="1321742" y="0"/>
                  </a:lnTo>
                  <a:lnTo>
                    <a:pt x="1320323" y="0"/>
                  </a:lnTo>
                  <a:cubicBezTo>
                    <a:pt x="1317483" y="1420"/>
                    <a:pt x="1051999" y="93700"/>
                    <a:pt x="758121" y="340729"/>
                  </a:cubicBezTo>
                  <a:cubicBezTo>
                    <a:pt x="584917" y="485538"/>
                    <a:pt x="437268" y="653063"/>
                    <a:pt x="316593" y="840464"/>
                  </a:cubicBezTo>
                  <a:cubicBezTo>
                    <a:pt x="166105" y="1074714"/>
                    <a:pt x="59627" y="1340199"/>
                    <a:pt x="0" y="1626979"/>
                  </a:cubicBezTo>
                  <a:lnTo>
                    <a:pt x="5679" y="1629818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2" name="任意多边形: 形状 511">
              <a:extLst>
                <a:ext uri="{FF2B5EF4-FFF2-40B4-BE49-F238E27FC236}">
                  <a16:creationId xmlns:a16="http://schemas.microsoft.com/office/drawing/2014/main" id="{2E3667D9-BDC5-4286-ACC5-05F8C6E1A81E}"/>
                </a:ext>
              </a:extLst>
            </p:cNvPr>
            <p:cNvSpPr/>
            <p:nvPr userDrawn="1"/>
          </p:nvSpPr>
          <p:spPr>
            <a:xfrm>
              <a:off x="10406585" y="3216857"/>
              <a:ext cx="1785415" cy="573525"/>
            </a:xfrm>
            <a:custGeom>
              <a:avLst/>
              <a:gdLst>
                <a:gd name="connsiteX0" fmla="*/ 312512 w 1785415"/>
                <a:gd name="connsiteY0" fmla="*/ 29 h 573525"/>
                <a:gd name="connsiteX1" fmla="*/ 1013667 w 1785415"/>
                <a:gd name="connsiteY1" fmla="*/ 97811 h 573525"/>
                <a:gd name="connsiteX2" fmla="*/ 1624183 w 1785415"/>
                <a:gd name="connsiteY2" fmla="*/ 413451 h 573525"/>
                <a:gd name="connsiteX3" fmla="*/ 1785415 w 1785415"/>
                <a:gd name="connsiteY3" fmla="*/ 561757 h 573525"/>
                <a:gd name="connsiteX4" fmla="*/ 1785415 w 1785415"/>
                <a:gd name="connsiteY4" fmla="*/ 573525 h 573525"/>
                <a:gd name="connsiteX5" fmla="*/ 1765755 w 1785415"/>
                <a:gd name="connsiteY5" fmla="*/ 551938 h 573525"/>
                <a:gd name="connsiteX6" fmla="*/ 1012247 w 1785415"/>
                <a:gd name="connsiteY6" fmla="*/ 103490 h 573525"/>
                <a:gd name="connsiteX7" fmla="*/ 1420 w 1785415"/>
                <a:gd name="connsiteY7" fmla="*/ 28246 h 573525"/>
                <a:gd name="connsiteX8" fmla="*/ 0 w 1785415"/>
                <a:gd name="connsiteY8" fmla="*/ 22567 h 573525"/>
                <a:gd name="connsiteX9" fmla="*/ 312512 w 1785415"/>
                <a:gd name="connsiteY9" fmla="*/ 29 h 57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85415" h="573525">
                  <a:moveTo>
                    <a:pt x="312512" y="29"/>
                  </a:moveTo>
                  <a:cubicBezTo>
                    <a:pt x="499735" y="-859"/>
                    <a:pt x="751732" y="18308"/>
                    <a:pt x="1013667" y="97811"/>
                  </a:cubicBezTo>
                  <a:cubicBezTo>
                    <a:pt x="1244724" y="168086"/>
                    <a:pt x="1449427" y="273499"/>
                    <a:pt x="1624183" y="413451"/>
                  </a:cubicBezTo>
                  <a:lnTo>
                    <a:pt x="1785415" y="561757"/>
                  </a:lnTo>
                  <a:lnTo>
                    <a:pt x="1785415" y="573525"/>
                  </a:lnTo>
                  <a:lnTo>
                    <a:pt x="1765755" y="551938"/>
                  </a:lnTo>
                  <a:cubicBezTo>
                    <a:pt x="1527955" y="310057"/>
                    <a:pt x="1253597" y="176605"/>
                    <a:pt x="1012247" y="103490"/>
                  </a:cubicBezTo>
                  <a:cubicBezTo>
                    <a:pt x="489797" y="-55517"/>
                    <a:pt x="5679" y="26826"/>
                    <a:pt x="1420" y="28246"/>
                  </a:cubicBezTo>
                  <a:lnTo>
                    <a:pt x="0" y="22567"/>
                  </a:lnTo>
                  <a:cubicBezTo>
                    <a:pt x="2840" y="21857"/>
                    <a:pt x="125289" y="916"/>
                    <a:pt x="312512" y="29"/>
                  </a:cubicBez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7" name="任意多边形: 形状 9996">
              <a:extLst>
                <a:ext uri="{FF2B5EF4-FFF2-40B4-BE49-F238E27FC236}">
                  <a16:creationId xmlns:a16="http://schemas.microsoft.com/office/drawing/2014/main" id="{A28A4F28-C40C-4920-B1E3-D221081AF86E}"/>
                </a:ext>
              </a:extLst>
            </p:cNvPr>
            <p:cNvSpPr/>
            <p:nvPr userDrawn="1"/>
          </p:nvSpPr>
          <p:spPr>
            <a:xfrm>
              <a:off x="10135422" y="3829388"/>
              <a:ext cx="212955" cy="1036383"/>
            </a:xfrm>
            <a:custGeom>
              <a:avLst/>
              <a:gdLst>
                <a:gd name="connsiteX0" fmla="*/ 0 w 212955"/>
                <a:gd name="connsiteY0" fmla="*/ 1038433 h 1036382"/>
                <a:gd name="connsiteX1" fmla="*/ 144810 w 212955"/>
                <a:gd name="connsiteY1" fmla="*/ 1038433 h 1036382"/>
                <a:gd name="connsiteX2" fmla="*/ 214375 w 212955"/>
                <a:gd name="connsiteY2" fmla="*/ 631 h 1036382"/>
                <a:gd name="connsiteX3" fmla="*/ 168944 w 212955"/>
                <a:gd name="connsiteY3" fmla="*/ 631 h 1036382"/>
                <a:gd name="connsiteX4" fmla="*/ 168944 w 212955"/>
                <a:gd name="connsiteY4" fmla="*/ 631 h 1036382"/>
                <a:gd name="connsiteX5" fmla="*/ 0 w 212955"/>
                <a:gd name="connsiteY5" fmla="*/ 1038433 h 10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955" h="1036382">
                  <a:moveTo>
                    <a:pt x="0" y="1038433"/>
                  </a:moveTo>
                  <a:lnTo>
                    <a:pt x="144810" y="1038433"/>
                  </a:lnTo>
                  <a:lnTo>
                    <a:pt x="214375" y="631"/>
                  </a:lnTo>
                  <a:cubicBezTo>
                    <a:pt x="214375" y="631"/>
                    <a:pt x="197339" y="-789"/>
                    <a:pt x="168944" y="631"/>
                  </a:cubicBezTo>
                  <a:cubicBezTo>
                    <a:pt x="168944" y="631"/>
                    <a:pt x="168944" y="631"/>
                    <a:pt x="168944" y="631"/>
                  </a:cubicBezTo>
                  <a:cubicBezTo>
                    <a:pt x="161846" y="11989"/>
                    <a:pt x="29814" y="849613"/>
                    <a:pt x="0" y="1038433"/>
                  </a:cubicBezTo>
                  <a:close/>
                </a:path>
              </a:pathLst>
            </a:custGeom>
            <a:solidFill>
              <a:srgbClr val="A6433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8" name="任意多边形: 形状 9997">
              <a:extLst>
                <a:ext uri="{FF2B5EF4-FFF2-40B4-BE49-F238E27FC236}">
                  <a16:creationId xmlns:a16="http://schemas.microsoft.com/office/drawing/2014/main" id="{EC9F0C81-DD86-4441-A55C-04994A2CF112}"/>
                </a:ext>
              </a:extLst>
            </p:cNvPr>
            <p:cNvSpPr/>
            <p:nvPr userDrawn="1"/>
          </p:nvSpPr>
          <p:spPr>
            <a:xfrm>
              <a:off x="7065222" y="4746110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9" name="任意多边形: 形状 9998">
              <a:extLst>
                <a:ext uri="{FF2B5EF4-FFF2-40B4-BE49-F238E27FC236}">
                  <a16:creationId xmlns:a16="http://schemas.microsoft.com/office/drawing/2014/main" id="{C69D5B6A-E0F6-4CFE-8D9F-B6A5B5D885FE}"/>
                </a:ext>
              </a:extLst>
            </p:cNvPr>
            <p:cNvSpPr/>
            <p:nvPr userDrawn="1"/>
          </p:nvSpPr>
          <p:spPr>
            <a:xfrm>
              <a:off x="8916162" y="4743217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0" name="任意多边形: 形状 9999">
              <a:extLst>
                <a:ext uri="{FF2B5EF4-FFF2-40B4-BE49-F238E27FC236}">
                  <a16:creationId xmlns:a16="http://schemas.microsoft.com/office/drawing/2014/main" id="{4DF759C0-7E56-4118-B57D-B1A88F06E092}"/>
                </a:ext>
              </a:extLst>
            </p:cNvPr>
            <p:cNvSpPr/>
            <p:nvPr userDrawn="1"/>
          </p:nvSpPr>
          <p:spPr>
            <a:xfrm>
              <a:off x="9077375" y="4743217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3" name="任意多边形: 形状 10002">
              <a:extLst>
                <a:ext uri="{FF2B5EF4-FFF2-40B4-BE49-F238E27FC236}">
                  <a16:creationId xmlns:a16="http://schemas.microsoft.com/office/drawing/2014/main" id="{D2184CC0-139E-4D70-8C50-3BC7A6D8FE31}"/>
                </a:ext>
              </a:extLst>
            </p:cNvPr>
            <p:cNvSpPr/>
            <p:nvPr userDrawn="1"/>
          </p:nvSpPr>
          <p:spPr>
            <a:xfrm>
              <a:off x="5146402" y="4747617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4" name="任意多边形: 形状 10003">
              <a:extLst>
                <a:ext uri="{FF2B5EF4-FFF2-40B4-BE49-F238E27FC236}">
                  <a16:creationId xmlns:a16="http://schemas.microsoft.com/office/drawing/2014/main" id="{C02446E9-8C0E-47BE-912E-D8F3A47986F7}"/>
                </a:ext>
              </a:extLst>
            </p:cNvPr>
            <p:cNvSpPr/>
            <p:nvPr userDrawn="1"/>
          </p:nvSpPr>
          <p:spPr>
            <a:xfrm>
              <a:off x="7482713" y="4742888"/>
              <a:ext cx="99379" cy="141970"/>
            </a:xfrm>
            <a:custGeom>
              <a:avLst/>
              <a:gdLst>
                <a:gd name="connsiteX0" fmla="*/ 3545 w 99379"/>
                <a:gd name="connsiteY0" fmla="*/ 123514 h 141970"/>
                <a:gd name="connsiteX1" fmla="*/ 23421 w 99379"/>
                <a:gd name="connsiteY1" fmla="*/ 0 h 141970"/>
                <a:gd name="connsiteX2" fmla="*/ 23421 w 99379"/>
                <a:gd name="connsiteY2" fmla="*/ 97959 h 141970"/>
                <a:gd name="connsiteX3" fmla="*/ 48976 w 99379"/>
                <a:gd name="connsiteY3" fmla="*/ 62467 h 141970"/>
                <a:gd name="connsiteX4" fmla="*/ 39038 w 99379"/>
                <a:gd name="connsiteY4" fmla="*/ 124934 h 141970"/>
                <a:gd name="connsiteX5" fmla="*/ 97246 w 99379"/>
                <a:gd name="connsiteY5" fmla="*/ 7099 h 141970"/>
                <a:gd name="connsiteX6" fmla="*/ 50395 w 99379"/>
                <a:gd name="connsiteY6" fmla="*/ 144810 h 141970"/>
                <a:gd name="connsiteX7" fmla="*/ 3545 w 99379"/>
                <a:gd name="connsiteY7" fmla="*/ 123514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379" h="141970">
                  <a:moveTo>
                    <a:pt x="3545" y="123514"/>
                  </a:moveTo>
                  <a:cubicBezTo>
                    <a:pt x="3545" y="123514"/>
                    <a:pt x="-12071" y="66726"/>
                    <a:pt x="23421" y="0"/>
                  </a:cubicBezTo>
                  <a:cubicBezTo>
                    <a:pt x="23421" y="0"/>
                    <a:pt x="4965" y="59627"/>
                    <a:pt x="23421" y="97959"/>
                  </a:cubicBezTo>
                  <a:cubicBezTo>
                    <a:pt x="23421" y="97959"/>
                    <a:pt x="36198" y="105058"/>
                    <a:pt x="48976" y="62467"/>
                  </a:cubicBezTo>
                  <a:cubicBezTo>
                    <a:pt x="48976" y="62467"/>
                    <a:pt x="50395" y="105058"/>
                    <a:pt x="39038" y="124934"/>
                  </a:cubicBezTo>
                  <a:cubicBezTo>
                    <a:pt x="27680" y="144810"/>
                    <a:pt x="95826" y="100799"/>
                    <a:pt x="97246" y="7099"/>
                  </a:cubicBezTo>
                  <a:cubicBezTo>
                    <a:pt x="97246" y="7099"/>
                    <a:pt x="115702" y="117835"/>
                    <a:pt x="50395" y="144810"/>
                  </a:cubicBezTo>
                  <a:cubicBezTo>
                    <a:pt x="-19170" y="171784"/>
                    <a:pt x="3545" y="123514"/>
                    <a:pt x="3545" y="123514"/>
                  </a:cubicBezTo>
                  <a:close/>
                </a:path>
              </a:pathLst>
            </a:custGeom>
            <a:solidFill>
              <a:schemeClr val="bg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6" name="任意多边形: 形状 10005">
              <a:extLst>
                <a:ext uri="{FF2B5EF4-FFF2-40B4-BE49-F238E27FC236}">
                  <a16:creationId xmlns:a16="http://schemas.microsoft.com/office/drawing/2014/main" id="{C09B5D9F-0941-4B7A-9D81-A28CA959D40B}"/>
                </a:ext>
              </a:extLst>
            </p:cNvPr>
            <p:cNvSpPr/>
            <p:nvPr userDrawn="1"/>
          </p:nvSpPr>
          <p:spPr>
            <a:xfrm>
              <a:off x="6571970" y="5542180"/>
              <a:ext cx="42591" cy="56788"/>
            </a:xfrm>
            <a:custGeom>
              <a:avLst/>
              <a:gdLst>
                <a:gd name="connsiteX0" fmla="*/ 0 w 42591"/>
                <a:gd name="connsiteY0" fmla="*/ 52529 h 56788"/>
                <a:gd name="connsiteX1" fmla="*/ 0 w 42591"/>
                <a:gd name="connsiteY1" fmla="*/ 4259 h 56788"/>
                <a:gd name="connsiteX2" fmla="*/ 48270 w 42591"/>
                <a:gd name="connsiteY2" fmla="*/ 0 h 56788"/>
                <a:gd name="connsiteX3" fmla="*/ 55368 w 42591"/>
                <a:gd name="connsiteY3" fmla="*/ 55368 h 56788"/>
                <a:gd name="connsiteX4" fmla="*/ 0 w 42591"/>
                <a:gd name="connsiteY4" fmla="*/ 52529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91" h="56788">
                  <a:moveTo>
                    <a:pt x="0" y="52529"/>
                  </a:moveTo>
                  <a:cubicBezTo>
                    <a:pt x="0" y="52529"/>
                    <a:pt x="0" y="9938"/>
                    <a:pt x="0" y="4259"/>
                  </a:cubicBezTo>
                  <a:cubicBezTo>
                    <a:pt x="0" y="0"/>
                    <a:pt x="48270" y="0"/>
                    <a:pt x="48270" y="0"/>
                  </a:cubicBezTo>
                  <a:cubicBezTo>
                    <a:pt x="48270" y="0"/>
                    <a:pt x="51109" y="46850"/>
                    <a:pt x="55368" y="55368"/>
                  </a:cubicBezTo>
                  <a:cubicBezTo>
                    <a:pt x="56788" y="65306"/>
                    <a:pt x="0" y="52529"/>
                    <a:pt x="0" y="52529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7" name="任意多边形: 形状 10006">
              <a:extLst>
                <a:ext uri="{FF2B5EF4-FFF2-40B4-BE49-F238E27FC236}">
                  <a16:creationId xmlns:a16="http://schemas.microsoft.com/office/drawing/2014/main" id="{51F585B3-B968-4BA1-B295-CEB53083453A}"/>
                </a:ext>
              </a:extLst>
            </p:cNvPr>
            <p:cNvSpPr/>
            <p:nvPr userDrawn="1"/>
          </p:nvSpPr>
          <p:spPr>
            <a:xfrm>
              <a:off x="6483750" y="5580137"/>
              <a:ext cx="156167" cy="127773"/>
            </a:xfrm>
            <a:custGeom>
              <a:avLst/>
              <a:gdLst>
                <a:gd name="connsiteX0" fmla="*/ 122293 w 156167"/>
                <a:gd name="connsiteY0" fmla="*/ 11733 h 127773"/>
                <a:gd name="connsiteX1" fmla="*/ 89640 w 156167"/>
                <a:gd name="connsiteY1" fmla="*/ 3215 h 127773"/>
                <a:gd name="connsiteX2" fmla="*/ 75443 w 156167"/>
                <a:gd name="connsiteY2" fmla="*/ 15992 h 127773"/>
                <a:gd name="connsiteX3" fmla="*/ 34271 w 156167"/>
                <a:gd name="connsiteY3" fmla="*/ 74200 h 127773"/>
                <a:gd name="connsiteX4" fmla="*/ 199 w 156167"/>
                <a:gd name="connsiteY4" fmla="*/ 111112 h 127773"/>
                <a:gd name="connsiteX5" fmla="*/ 86800 w 156167"/>
                <a:gd name="connsiteY5" fmla="*/ 133827 h 127773"/>
                <a:gd name="connsiteX6" fmla="*/ 162045 w 156167"/>
                <a:gd name="connsiteY6" fmla="*/ 75620 h 127773"/>
                <a:gd name="connsiteX7" fmla="*/ 137910 w 156167"/>
                <a:gd name="connsiteY7" fmla="*/ 375 h 127773"/>
                <a:gd name="connsiteX8" fmla="*/ 122293 w 156167"/>
                <a:gd name="connsiteY8" fmla="*/ 11733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6167" h="127773">
                  <a:moveTo>
                    <a:pt x="122293" y="11733"/>
                  </a:moveTo>
                  <a:cubicBezTo>
                    <a:pt x="122293" y="11733"/>
                    <a:pt x="102417" y="3215"/>
                    <a:pt x="89640" y="3215"/>
                  </a:cubicBezTo>
                  <a:cubicBezTo>
                    <a:pt x="76863" y="3215"/>
                    <a:pt x="78282" y="11733"/>
                    <a:pt x="75443" y="15992"/>
                  </a:cubicBezTo>
                  <a:cubicBezTo>
                    <a:pt x="72603" y="20251"/>
                    <a:pt x="41370" y="67101"/>
                    <a:pt x="34271" y="74200"/>
                  </a:cubicBezTo>
                  <a:cubicBezTo>
                    <a:pt x="25753" y="82718"/>
                    <a:pt x="-2641" y="91236"/>
                    <a:pt x="199" y="111112"/>
                  </a:cubicBezTo>
                  <a:cubicBezTo>
                    <a:pt x="4458" y="132408"/>
                    <a:pt x="41370" y="139506"/>
                    <a:pt x="86800" y="133827"/>
                  </a:cubicBezTo>
                  <a:cubicBezTo>
                    <a:pt x="132231" y="128149"/>
                    <a:pt x="154946" y="85558"/>
                    <a:pt x="162045" y="75620"/>
                  </a:cubicBezTo>
                  <a:cubicBezTo>
                    <a:pt x="169143" y="65682"/>
                    <a:pt x="145008" y="4635"/>
                    <a:pt x="137910" y="375"/>
                  </a:cubicBezTo>
                  <a:cubicBezTo>
                    <a:pt x="130811" y="-2464"/>
                    <a:pt x="122293" y="11733"/>
                    <a:pt x="122293" y="11733"/>
                  </a:cubicBezTo>
                  <a:close/>
                </a:path>
              </a:pathLst>
            </a:custGeom>
            <a:solidFill>
              <a:srgbClr val="A1542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8" name="任意多边形: 形状 10007">
              <a:extLst>
                <a:ext uri="{FF2B5EF4-FFF2-40B4-BE49-F238E27FC236}">
                  <a16:creationId xmlns:a16="http://schemas.microsoft.com/office/drawing/2014/main" id="{7EA47A70-8146-42B5-A319-F4E0478786C9}"/>
                </a:ext>
              </a:extLst>
            </p:cNvPr>
            <p:cNvSpPr/>
            <p:nvPr userDrawn="1"/>
          </p:nvSpPr>
          <p:spPr>
            <a:xfrm>
              <a:off x="6174454" y="5547859"/>
              <a:ext cx="56788" cy="56788"/>
            </a:xfrm>
            <a:custGeom>
              <a:avLst/>
              <a:gdLst>
                <a:gd name="connsiteX0" fmla="*/ 0 w 56788"/>
                <a:gd name="connsiteY0" fmla="*/ 39752 h 56788"/>
                <a:gd name="connsiteX1" fmla="*/ 11358 w 56788"/>
                <a:gd name="connsiteY1" fmla="*/ 0 h 56788"/>
                <a:gd name="connsiteX2" fmla="*/ 62467 w 56788"/>
                <a:gd name="connsiteY2" fmla="*/ 7099 h 56788"/>
                <a:gd name="connsiteX3" fmla="*/ 53949 w 56788"/>
                <a:gd name="connsiteY3" fmla="*/ 68146 h 56788"/>
                <a:gd name="connsiteX4" fmla="*/ 0 w 56788"/>
                <a:gd name="connsiteY4" fmla="*/ 39752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88" h="56788">
                  <a:moveTo>
                    <a:pt x="0" y="39752"/>
                  </a:moveTo>
                  <a:lnTo>
                    <a:pt x="11358" y="0"/>
                  </a:lnTo>
                  <a:lnTo>
                    <a:pt x="62467" y="7099"/>
                  </a:lnTo>
                  <a:cubicBezTo>
                    <a:pt x="62467" y="7099"/>
                    <a:pt x="51109" y="61047"/>
                    <a:pt x="53949" y="68146"/>
                  </a:cubicBezTo>
                  <a:cubicBezTo>
                    <a:pt x="55368" y="73824"/>
                    <a:pt x="0" y="39752"/>
                    <a:pt x="0" y="3975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9" name="任意多边形: 形状 10008">
              <a:extLst>
                <a:ext uri="{FF2B5EF4-FFF2-40B4-BE49-F238E27FC236}">
                  <a16:creationId xmlns:a16="http://schemas.microsoft.com/office/drawing/2014/main" id="{199A6AF9-8FCF-456A-9524-553BB79A30C8}"/>
                </a:ext>
              </a:extLst>
            </p:cNvPr>
            <p:cNvSpPr/>
            <p:nvPr userDrawn="1"/>
          </p:nvSpPr>
          <p:spPr>
            <a:xfrm>
              <a:off x="6296548" y="3990446"/>
              <a:ext cx="156167" cy="653063"/>
            </a:xfrm>
            <a:custGeom>
              <a:avLst/>
              <a:gdLst>
                <a:gd name="connsiteX0" fmla="*/ 28394 w 156167"/>
                <a:gd name="connsiteY0" fmla="*/ 0 h 653062"/>
                <a:gd name="connsiteX1" fmla="*/ 15617 w 156167"/>
                <a:gd name="connsiteY1" fmla="*/ 288200 h 653062"/>
                <a:gd name="connsiteX2" fmla="*/ 0 w 156167"/>
                <a:gd name="connsiteY2" fmla="*/ 661581 h 653062"/>
                <a:gd name="connsiteX3" fmla="*/ 161846 w 156167"/>
                <a:gd name="connsiteY3" fmla="*/ 424491 h 653062"/>
                <a:gd name="connsiteX4" fmla="*/ 28394 w 156167"/>
                <a:gd name="connsiteY4" fmla="*/ 0 h 65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167" h="653062">
                  <a:moveTo>
                    <a:pt x="28394" y="0"/>
                  </a:moveTo>
                  <a:cubicBezTo>
                    <a:pt x="28394" y="0"/>
                    <a:pt x="-1420" y="144810"/>
                    <a:pt x="15617" y="288200"/>
                  </a:cubicBezTo>
                  <a:cubicBezTo>
                    <a:pt x="32653" y="431589"/>
                    <a:pt x="0" y="661581"/>
                    <a:pt x="0" y="661581"/>
                  </a:cubicBezTo>
                  <a:lnTo>
                    <a:pt x="161846" y="424491"/>
                  </a:lnTo>
                  <a:lnTo>
                    <a:pt x="28394" y="0"/>
                  </a:ln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0" name="任意多边形: 形状 10009">
              <a:extLst>
                <a:ext uri="{FF2B5EF4-FFF2-40B4-BE49-F238E27FC236}">
                  <a16:creationId xmlns:a16="http://schemas.microsoft.com/office/drawing/2014/main" id="{FA33CCE8-E597-4E80-A6E6-A5EBDF03951F}"/>
                </a:ext>
              </a:extLst>
            </p:cNvPr>
            <p:cNvSpPr/>
            <p:nvPr userDrawn="1"/>
          </p:nvSpPr>
          <p:spPr>
            <a:xfrm>
              <a:off x="6160257" y="4422685"/>
              <a:ext cx="511093" cy="1135762"/>
            </a:xfrm>
            <a:custGeom>
              <a:avLst/>
              <a:gdLst>
                <a:gd name="connsiteX0" fmla="*/ 187401 w 511092"/>
                <a:gd name="connsiteY0" fmla="*/ 132802 h 1135761"/>
                <a:gd name="connsiteX1" fmla="*/ 139131 w 511092"/>
                <a:gd name="connsiteY1" fmla="*/ 361374 h 1135761"/>
                <a:gd name="connsiteX2" fmla="*/ 102219 w 511092"/>
                <a:gd name="connsiteY2" fmla="*/ 666610 h 1135761"/>
                <a:gd name="connsiteX3" fmla="*/ 62467 w 511092"/>
                <a:gd name="connsiteY3" fmla="*/ 859689 h 1135761"/>
                <a:gd name="connsiteX4" fmla="*/ 0 w 511092"/>
                <a:gd name="connsiteY4" fmla="*/ 1140790 h 1135761"/>
                <a:gd name="connsiteX5" fmla="*/ 86602 w 511092"/>
                <a:gd name="connsiteY5" fmla="*/ 1142210 h 1135761"/>
                <a:gd name="connsiteX6" fmla="*/ 176043 w 511092"/>
                <a:gd name="connsiteY6" fmla="*/ 825617 h 1135761"/>
                <a:gd name="connsiteX7" fmla="*/ 238510 w 511092"/>
                <a:gd name="connsiteY7" fmla="*/ 589946 h 1135761"/>
                <a:gd name="connsiteX8" fmla="*/ 342148 w 511092"/>
                <a:gd name="connsiteY8" fmla="*/ 318783 h 1135761"/>
                <a:gd name="connsiteX9" fmla="*/ 347827 w 511092"/>
                <a:gd name="connsiteY9" fmla="*/ 364213 h 1135761"/>
                <a:gd name="connsiteX10" fmla="*/ 379060 w 511092"/>
                <a:gd name="connsiteY10" fmla="*/ 659511 h 1135761"/>
                <a:gd name="connsiteX11" fmla="*/ 384739 w 511092"/>
                <a:gd name="connsiteY11" fmla="*/ 845492 h 1135761"/>
                <a:gd name="connsiteX12" fmla="*/ 397517 w 511092"/>
                <a:gd name="connsiteY12" fmla="*/ 1135111 h 1135761"/>
                <a:gd name="connsiteX13" fmla="*/ 478440 w 511092"/>
                <a:gd name="connsiteY13" fmla="*/ 1126593 h 1135761"/>
                <a:gd name="connsiteX14" fmla="*/ 484118 w 511092"/>
                <a:gd name="connsiteY14" fmla="*/ 808580 h 1135761"/>
                <a:gd name="connsiteX15" fmla="*/ 488377 w 511092"/>
                <a:gd name="connsiteY15" fmla="*/ 633957 h 1135761"/>
                <a:gd name="connsiteX16" fmla="*/ 481279 w 511092"/>
                <a:gd name="connsiteY16" fmla="*/ 158356 h 1135761"/>
                <a:gd name="connsiteX17" fmla="*/ 187401 w 511092"/>
                <a:gd name="connsiteY17" fmla="*/ 132802 h 1135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11092" h="1135761">
                  <a:moveTo>
                    <a:pt x="187401" y="132802"/>
                  </a:moveTo>
                  <a:cubicBezTo>
                    <a:pt x="187401" y="132802"/>
                    <a:pt x="147649" y="314524"/>
                    <a:pt x="139131" y="361374"/>
                  </a:cubicBezTo>
                  <a:cubicBezTo>
                    <a:pt x="130613" y="406804"/>
                    <a:pt x="105058" y="629698"/>
                    <a:pt x="102219" y="666610"/>
                  </a:cubicBezTo>
                  <a:cubicBezTo>
                    <a:pt x="99379" y="704942"/>
                    <a:pt x="61047" y="846912"/>
                    <a:pt x="62467" y="859689"/>
                  </a:cubicBezTo>
                  <a:cubicBezTo>
                    <a:pt x="63887" y="873886"/>
                    <a:pt x="0" y="1140790"/>
                    <a:pt x="0" y="1140790"/>
                  </a:cubicBezTo>
                  <a:cubicBezTo>
                    <a:pt x="0" y="1140790"/>
                    <a:pt x="68146" y="1149308"/>
                    <a:pt x="86602" y="1142210"/>
                  </a:cubicBezTo>
                  <a:cubicBezTo>
                    <a:pt x="99379" y="1137951"/>
                    <a:pt x="176043" y="892342"/>
                    <a:pt x="176043" y="825617"/>
                  </a:cubicBezTo>
                  <a:cubicBezTo>
                    <a:pt x="176043" y="731916"/>
                    <a:pt x="231411" y="611241"/>
                    <a:pt x="238510" y="589946"/>
                  </a:cubicBezTo>
                  <a:cubicBezTo>
                    <a:pt x="316594" y="381250"/>
                    <a:pt x="330791" y="331560"/>
                    <a:pt x="342148" y="318783"/>
                  </a:cubicBezTo>
                  <a:cubicBezTo>
                    <a:pt x="342148" y="318783"/>
                    <a:pt x="343568" y="335819"/>
                    <a:pt x="347827" y="364213"/>
                  </a:cubicBezTo>
                  <a:cubicBezTo>
                    <a:pt x="352086" y="396866"/>
                    <a:pt x="370542" y="629698"/>
                    <a:pt x="379060" y="659511"/>
                  </a:cubicBezTo>
                  <a:cubicBezTo>
                    <a:pt x="387579" y="690745"/>
                    <a:pt x="380480" y="792963"/>
                    <a:pt x="384739" y="845492"/>
                  </a:cubicBezTo>
                  <a:cubicBezTo>
                    <a:pt x="388998" y="898021"/>
                    <a:pt x="397517" y="1135111"/>
                    <a:pt x="397517" y="1135111"/>
                  </a:cubicBezTo>
                  <a:cubicBezTo>
                    <a:pt x="397517" y="1135111"/>
                    <a:pt x="459983" y="1136531"/>
                    <a:pt x="478440" y="1126593"/>
                  </a:cubicBezTo>
                  <a:cubicBezTo>
                    <a:pt x="484118" y="1123754"/>
                    <a:pt x="484118" y="871047"/>
                    <a:pt x="484118" y="808580"/>
                  </a:cubicBezTo>
                  <a:cubicBezTo>
                    <a:pt x="485538" y="746113"/>
                    <a:pt x="485538" y="660931"/>
                    <a:pt x="488377" y="633957"/>
                  </a:cubicBezTo>
                  <a:cubicBezTo>
                    <a:pt x="505414" y="376991"/>
                    <a:pt x="546585" y="340078"/>
                    <a:pt x="481279" y="158356"/>
                  </a:cubicBezTo>
                  <a:cubicBezTo>
                    <a:pt x="359185" y="-182372"/>
                    <a:pt x="187401" y="132802"/>
                    <a:pt x="187401" y="132802"/>
                  </a:cubicBezTo>
                  <a:close/>
                </a:path>
              </a:pathLst>
            </a:custGeom>
            <a:solidFill>
              <a:schemeClr val="tx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1" name="任意多边形: 形状 10010">
              <a:extLst>
                <a:ext uri="{FF2B5EF4-FFF2-40B4-BE49-F238E27FC236}">
                  <a16:creationId xmlns:a16="http://schemas.microsoft.com/office/drawing/2014/main" id="{FEEE20FC-AB59-4A21-890F-09731CE65116}"/>
                </a:ext>
              </a:extLst>
            </p:cNvPr>
            <p:cNvSpPr/>
            <p:nvPr userDrawn="1"/>
          </p:nvSpPr>
          <p:spPr>
            <a:xfrm>
              <a:off x="6282268" y="3940978"/>
              <a:ext cx="369123" cy="653063"/>
            </a:xfrm>
            <a:custGeom>
              <a:avLst/>
              <a:gdLst>
                <a:gd name="connsiteX0" fmla="*/ 34156 w 369122"/>
                <a:gd name="connsiteY0" fmla="*/ 82120 h 653062"/>
                <a:gd name="connsiteX1" fmla="*/ 1503 w 369122"/>
                <a:gd name="connsiteY1" fmla="*/ 287977 h 653062"/>
                <a:gd name="connsiteX2" fmla="*/ 62550 w 369122"/>
                <a:gd name="connsiteY2" fmla="*/ 360382 h 653062"/>
                <a:gd name="connsiteX3" fmla="*/ 95204 w 369122"/>
                <a:gd name="connsiteY3" fmla="*/ 481057 h 653062"/>
                <a:gd name="connsiteX4" fmla="*/ 65390 w 369122"/>
                <a:gd name="connsiteY4" fmla="*/ 614509 h 653062"/>
                <a:gd name="connsiteX5" fmla="*/ 373465 w 369122"/>
                <a:gd name="connsiteY5" fmla="*/ 581856 h 653062"/>
                <a:gd name="connsiteX6" fmla="*/ 316677 w 369122"/>
                <a:gd name="connsiteY6" fmla="*/ 404393 h 653062"/>
                <a:gd name="connsiteX7" fmla="*/ 316677 w 369122"/>
                <a:gd name="connsiteY7" fmla="*/ 248226 h 653062"/>
                <a:gd name="connsiteX8" fmla="*/ 325195 w 369122"/>
                <a:gd name="connsiteY8" fmla="*/ 69343 h 653062"/>
                <a:gd name="connsiteX9" fmla="*/ 176127 w 369122"/>
                <a:gd name="connsiteY9" fmla="*/ 1197 h 653062"/>
                <a:gd name="connsiteX10" fmla="*/ 34156 w 369122"/>
                <a:gd name="connsiteY10" fmla="*/ 82120 h 65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9122" h="653062">
                  <a:moveTo>
                    <a:pt x="34156" y="82120"/>
                  </a:moveTo>
                  <a:cubicBezTo>
                    <a:pt x="34156" y="82120"/>
                    <a:pt x="-8435" y="253904"/>
                    <a:pt x="1503" y="287977"/>
                  </a:cubicBezTo>
                  <a:cubicBezTo>
                    <a:pt x="11441" y="322050"/>
                    <a:pt x="61131" y="356123"/>
                    <a:pt x="62550" y="360382"/>
                  </a:cubicBezTo>
                  <a:cubicBezTo>
                    <a:pt x="63970" y="364641"/>
                    <a:pt x="95204" y="464020"/>
                    <a:pt x="95204" y="481057"/>
                  </a:cubicBezTo>
                  <a:cubicBezTo>
                    <a:pt x="93784" y="498093"/>
                    <a:pt x="65390" y="614509"/>
                    <a:pt x="65390" y="614509"/>
                  </a:cubicBezTo>
                  <a:cubicBezTo>
                    <a:pt x="65390" y="614509"/>
                    <a:pt x="214458" y="722406"/>
                    <a:pt x="373465" y="581856"/>
                  </a:cubicBezTo>
                  <a:cubicBezTo>
                    <a:pt x="373465" y="581856"/>
                    <a:pt x="318097" y="420009"/>
                    <a:pt x="316677" y="404393"/>
                  </a:cubicBezTo>
                  <a:cubicBezTo>
                    <a:pt x="315257" y="387356"/>
                    <a:pt x="310998" y="263842"/>
                    <a:pt x="316677" y="248226"/>
                  </a:cubicBezTo>
                  <a:cubicBezTo>
                    <a:pt x="322356" y="232609"/>
                    <a:pt x="332294" y="83540"/>
                    <a:pt x="325195" y="69343"/>
                  </a:cubicBezTo>
                  <a:cubicBezTo>
                    <a:pt x="318097" y="55146"/>
                    <a:pt x="237174" y="13975"/>
                    <a:pt x="176127" y="1197"/>
                  </a:cubicBezTo>
                  <a:cubicBezTo>
                    <a:pt x="115079" y="-11580"/>
                    <a:pt x="34156" y="82120"/>
                    <a:pt x="34156" y="82120"/>
                  </a:cubicBezTo>
                  <a:close/>
                </a:path>
              </a:pathLst>
            </a:custGeom>
            <a:solidFill>
              <a:srgbClr val="FFF8F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2" name="任意多边形: 形状 10011">
              <a:extLst>
                <a:ext uri="{FF2B5EF4-FFF2-40B4-BE49-F238E27FC236}">
                  <a16:creationId xmlns:a16="http://schemas.microsoft.com/office/drawing/2014/main" id="{A19A72A4-512C-4AC3-A710-30793735B514}"/>
                </a:ext>
              </a:extLst>
            </p:cNvPr>
            <p:cNvSpPr/>
            <p:nvPr userDrawn="1"/>
          </p:nvSpPr>
          <p:spPr>
            <a:xfrm>
              <a:off x="6462383" y="3945015"/>
              <a:ext cx="269743" cy="837624"/>
            </a:xfrm>
            <a:custGeom>
              <a:avLst/>
              <a:gdLst>
                <a:gd name="connsiteX0" fmla="*/ 245879 w 269743"/>
                <a:gd name="connsiteY0" fmla="*/ 848982 h 837624"/>
                <a:gd name="connsiteX1" fmla="*/ 176313 w 269743"/>
                <a:gd name="connsiteY1" fmla="*/ 667260 h 837624"/>
                <a:gd name="connsiteX2" fmla="*/ 149339 w 269743"/>
                <a:gd name="connsiteY2" fmla="*/ 609052 h 837624"/>
                <a:gd name="connsiteX3" fmla="*/ 128043 w 269743"/>
                <a:gd name="connsiteY3" fmla="*/ 563622 h 837624"/>
                <a:gd name="connsiteX4" fmla="*/ 17307 w 269743"/>
                <a:gd name="connsiteY4" fmla="*/ 303816 h 837624"/>
                <a:gd name="connsiteX5" fmla="*/ 18726 w 269743"/>
                <a:gd name="connsiteY5" fmla="*/ 0 h 837624"/>
                <a:gd name="connsiteX6" fmla="*/ 18726 w 269743"/>
                <a:gd name="connsiteY6" fmla="*/ 0 h 837624"/>
                <a:gd name="connsiteX7" fmla="*/ 143660 w 269743"/>
                <a:gd name="connsiteY7" fmla="*/ 53949 h 837624"/>
                <a:gd name="connsiteX8" fmla="*/ 143660 w 269743"/>
                <a:gd name="connsiteY8" fmla="*/ 53949 h 837624"/>
                <a:gd name="connsiteX9" fmla="*/ 145080 w 269743"/>
                <a:gd name="connsiteY9" fmla="*/ 56788 h 837624"/>
                <a:gd name="connsiteX10" fmla="*/ 180572 w 269743"/>
                <a:gd name="connsiteY10" fmla="*/ 140551 h 837624"/>
                <a:gd name="connsiteX11" fmla="*/ 143660 w 269743"/>
                <a:gd name="connsiteY11" fmla="*/ 191660 h 837624"/>
                <a:gd name="connsiteX12" fmla="*/ 132303 w 269743"/>
                <a:gd name="connsiteY12" fmla="*/ 238510 h 837624"/>
                <a:gd name="connsiteX13" fmla="*/ 133722 w 269743"/>
                <a:gd name="connsiteY13" fmla="*/ 259805 h 837624"/>
                <a:gd name="connsiteX14" fmla="*/ 135142 w 269743"/>
                <a:gd name="connsiteY14" fmla="*/ 266904 h 837624"/>
                <a:gd name="connsiteX15" fmla="*/ 176313 w 269743"/>
                <a:gd name="connsiteY15" fmla="*/ 396097 h 837624"/>
                <a:gd name="connsiteX16" fmla="*/ 179153 w 269743"/>
                <a:gd name="connsiteY16" fmla="*/ 414553 h 837624"/>
                <a:gd name="connsiteX17" fmla="*/ 179153 w 269743"/>
                <a:gd name="connsiteY17" fmla="*/ 414553 h 837624"/>
                <a:gd name="connsiteX18" fmla="*/ 179153 w 269743"/>
                <a:gd name="connsiteY18" fmla="*/ 414553 h 837624"/>
                <a:gd name="connsiteX19" fmla="*/ 193350 w 269743"/>
                <a:gd name="connsiteY19" fmla="*/ 458564 h 837624"/>
                <a:gd name="connsiteX20" fmla="*/ 196189 w 269743"/>
                <a:gd name="connsiteY20" fmla="*/ 464243 h 837624"/>
                <a:gd name="connsiteX21" fmla="*/ 196189 w 269743"/>
                <a:gd name="connsiteY21" fmla="*/ 464243 h 837624"/>
                <a:gd name="connsiteX22" fmla="*/ 234521 w 269743"/>
                <a:gd name="connsiteY22" fmla="*/ 549425 h 837624"/>
                <a:gd name="connsiteX23" fmla="*/ 282791 w 269743"/>
                <a:gd name="connsiteY23" fmla="*/ 685716 h 837624"/>
                <a:gd name="connsiteX24" fmla="*/ 245879 w 269743"/>
                <a:gd name="connsiteY24" fmla="*/ 848982 h 837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9743" h="837624">
                  <a:moveTo>
                    <a:pt x="245879" y="848982"/>
                  </a:moveTo>
                  <a:cubicBezTo>
                    <a:pt x="244459" y="819168"/>
                    <a:pt x="214645" y="749603"/>
                    <a:pt x="176313" y="667260"/>
                  </a:cubicBezTo>
                  <a:cubicBezTo>
                    <a:pt x="167795" y="648804"/>
                    <a:pt x="157857" y="628928"/>
                    <a:pt x="149339" y="609052"/>
                  </a:cubicBezTo>
                  <a:cubicBezTo>
                    <a:pt x="142241" y="593435"/>
                    <a:pt x="135142" y="579238"/>
                    <a:pt x="128043" y="563622"/>
                  </a:cubicBezTo>
                  <a:cubicBezTo>
                    <a:pt x="81193" y="464243"/>
                    <a:pt x="34343" y="364863"/>
                    <a:pt x="17307" y="303816"/>
                  </a:cubicBezTo>
                  <a:cubicBezTo>
                    <a:pt x="-22445" y="167525"/>
                    <a:pt x="18726" y="0"/>
                    <a:pt x="18726" y="0"/>
                  </a:cubicBezTo>
                  <a:cubicBezTo>
                    <a:pt x="18726" y="0"/>
                    <a:pt x="18726" y="0"/>
                    <a:pt x="18726" y="0"/>
                  </a:cubicBezTo>
                  <a:cubicBezTo>
                    <a:pt x="64157" y="8518"/>
                    <a:pt x="128043" y="34073"/>
                    <a:pt x="143660" y="53949"/>
                  </a:cubicBezTo>
                  <a:cubicBezTo>
                    <a:pt x="143660" y="53949"/>
                    <a:pt x="143660" y="53949"/>
                    <a:pt x="143660" y="53949"/>
                  </a:cubicBezTo>
                  <a:cubicBezTo>
                    <a:pt x="143660" y="55368"/>
                    <a:pt x="145080" y="55368"/>
                    <a:pt x="145080" y="56788"/>
                  </a:cubicBezTo>
                  <a:cubicBezTo>
                    <a:pt x="150759" y="66726"/>
                    <a:pt x="164956" y="109317"/>
                    <a:pt x="180572" y="140551"/>
                  </a:cubicBezTo>
                  <a:cubicBezTo>
                    <a:pt x="180572" y="140551"/>
                    <a:pt x="159277" y="156167"/>
                    <a:pt x="143660" y="191660"/>
                  </a:cubicBezTo>
                  <a:cubicBezTo>
                    <a:pt x="137981" y="205857"/>
                    <a:pt x="132303" y="222893"/>
                    <a:pt x="132303" y="238510"/>
                  </a:cubicBezTo>
                  <a:cubicBezTo>
                    <a:pt x="132303" y="245608"/>
                    <a:pt x="132303" y="252707"/>
                    <a:pt x="133722" y="259805"/>
                  </a:cubicBezTo>
                  <a:cubicBezTo>
                    <a:pt x="133722" y="262645"/>
                    <a:pt x="135142" y="264065"/>
                    <a:pt x="135142" y="266904"/>
                  </a:cubicBezTo>
                  <a:cubicBezTo>
                    <a:pt x="155018" y="327951"/>
                    <a:pt x="176313" y="396097"/>
                    <a:pt x="176313" y="396097"/>
                  </a:cubicBezTo>
                  <a:cubicBezTo>
                    <a:pt x="176313" y="401776"/>
                    <a:pt x="177733" y="408874"/>
                    <a:pt x="179153" y="414553"/>
                  </a:cubicBezTo>
                  <a:cubicBezTo>
                    <a:pt x="179153" y="414553"/>
                    <a:pt x="179153" y="414553"/>
                    <a:pt x="179153" y="414553"/>
                  </a:cubicBezTo>
                  <a:lnTo>
                    <a:pt x="179153" y="414553"/>
                  </a:lnTo>
                  <a:cubicBezTo>
                    <a:pt x="181992" y="428750"/>
                    <a:pt x="187671" y="442947"/>
                    <a:pt x="193350" y="458564"/>
                  </a:cubicBezTo>
                  <a:cubicBezTo>
                    <a:pt x="194769" y="459983"/>
                    <a:pt x="194769" y="462823"/>
                    <a:pt x="196189" y="464243"/>
                  </a:cubicBezTo>
                  <a:cubicBezTo>
                    <a:pt x="196189" y="464243"/>
                    <a:pt x="196189" y="464243"/>
                    <a:pt x="196189" y="464243"/>
                  </a:cubicBezTo>
                  <a:cubicBezTo>
                    <a:pt x="207547" y="491217"/>
                    <a:pt x="221744" y="519611"/>
                    <a:pt x="234521" y="549425"/>
                  </a:cubicBezTo>
                  <a:cubicBezTo>
                    <a:pt x="257236" y="597695"/>
                    <a:pt x="278532" y="645965"/>
                    <a:pt x="282791" y="685716"/>
                  </a:cubicBezTo>
                  <a:cubicBezTo>
                    <a:pt x="289889" y="777997"/>
                    <a:pt x="245879" y="848982"/>
                    <a:pt x="245879" y="848982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3" name="任意多边形: 形状 10012">
              <a:extLst>
                <a:ext uri="{FF2B5EF4-FFF2-40B4-BE49-F238E27FC236}">
                  <a16:creationId xmlns:a16="http://schemas.microsoft.com/office/drawing/2014/main" id="{0D51F4BD-2908-4DB5-9C98-5FA267F2995A}"/>
                </a:ext>
              </a:extLst>
            </p:cNvPr>
            <p:cNvSpPr/>
            <p:nvPr userDrawn="1"/>
          </p:nvSpPr>
          <p:spPr>
            <a:xfrm>
              <a:off x="6563452" y="4166310"/>
              <a:ext cx="85182" cy="241349"/>
            </a:xfrm>
            <a:custGeom>
              <a:avLst/>
              <a:gdLst>
                <a:gd name="connsiteX0" fmla="*/ 93700 w 85182"/>
                <a:gd name="connsiteY0" fmla="*/ 245788 h 241349"/>
                <a:gd name="connsiteX1" fmla="*/ 0 w 85182"/>
                <a:gd name="connsiteY1" fmla="*/ 179 h 241349"/>
                <a:gd name="connsiteX2" fmla="*/ 29814 w 85182"/>
                <a:gd name="connsiteY2" fmla="*/ 18635 h 241349"/>
                <a:gd name="connsiteX3" fmla="*/ 76664 w 85182"/>
                <a:gd name="connsiteY3" fmla="*/ 196098 h 241349"/>
                <a:gd name="connsiteX4" fmla="*/ 76664 w 85182"/>
                <a:gd name="connsiteY4" fmla="*/ 196098 h 241349"/>
                <a:gd name="connsiteX5" fmla="*/ 76664 w 85182"/>
                <a:gd name="connsiteY5" fmla="*/ 196098 h 241349"/>
                <a:gd name="connsiteX6" fmla="*/ 90861 w 85182"/>
                <a:gd name="connsiteY6" fmla="*/ 240109 h 241349"/>
                <a:gd name="connsiteX7" fmla="*/ 93700 w 85182"/>
                <a:gd name="connsiteY7" fmla="*/ 245788 h 241349"/>
                <a:gd name="connsiteX8" fmla="*/ 93700 w 85182"/>
                <a:gd name="connsiteY8" fmla="*/ 245788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82" h="241349">
                  <a:moveTo>
                    <a:pt x="93700" y="245788"/>
                  </a:moveTo>
                  <a:cubicBezTo>
                    <a:pt x="53949" y="203196"/>
                    <a:pt x="0" y="179"/>
                    <a:pt x="0" y="179"/>
                  </a:cubicBezTo>
                  <a:cubicBezTo>
                    <a:pt x="11358" y="-1241"/>
                    <a:pt x="21296" y="5858"/>
                    <a:pt x="29814" y="18635"/>
                  </a:cubicBezTo>
                  <a:cubicBezTo>
                    <a:pt x="62467" y="65485"/>
                    <a:pt x="76664" y="190419"/>
                    <a:pt x="76664" y="196098"/>
                  </a:cubicBezTo>
                  <a:cubicBezTo>
                    <a:pt x="76664" y="196098"/>
                    <a:pt x="76664" y="196098"/>
                    <a:pt x="76664" y="196098"/>
                  </a:cubicBezTo>
                  <a:lnTo>
                    <a:pt x="76664" y="196098"/>
                  </a:lnTo>
                  <a:cubicBezTo>
                    <a:pt x="79503" y="210295"/>
                    <a:pt x="85182" y="224492"/>
                    <a:pt x="90861" y="240109"/>
                  </a:cubicBezTo>
                  <a:cubicBezTo>
                    <a:pt x="90861" y="241528"/>
                    <a:pt x="92281" y="242948"/>
                    <a:pt x="93700" y="245788"/>
                  </a:cubicBezTo>
                  <a:cubicBezTo>
                    <a:pt x="93700" y="245788"/>
                    <a:pt x="93700" y="245788"/>
                    <a:pt x="93700" y="245788"/>
                  </a:cubicBez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4" name="任意多边形: 形状 10013">
              <a:extLst>
                <a:ext uri="{FF2B5EF4-FFF2-40B4-BE49-F238E27FC236}">
                  <a16:creationId xmlns:a16="http://schemas.microsoft.com/office/drawing/2014/main" id="{1683A0F0-DF3B-4864-97FE-B6C40C2B0189}"/>
                </a:ext>
              </a:extLst>
            </p:cNvPr>
            <p:cNvSpPr/>
            <p:nvPr userDrawn="1"/>
          </p:nvSpPr>
          <p:spPr>
            <a:xfrm>
              <a:off x="6840294" y="4406906"/>
              <a:ext cx="99379" cy="127773"/>
            </a:xfrm>
            <a:custGeom>
              <a:avLst/>
              <a:gdLst>
                <a:gd name="connsiteX0" fmla="*/ 18456 w 99379"/>
                <a:gd name="connsiteY0" fmla="*/ 46363 h 127773"/>
                <a:gd name="connsiteX1" fmla="*/ 51109 w 99379"/>
                <a:gd name="connsiteY1" fmla="*/ 43524 h 127773"/>
                <a:gd name="connsiteX2" fmla="*/ 75244 w 99379"/>
                <a:gd name="connsiteY2" fmla="*/ 15130 h 127773"/>
                <a:gd name="connsiteX3" fmla="*/ 92281 w 99379"/>
                <a:gd name="connsiteY3" fmla="*/ 2352 h 127773"/>
                <a:gd name="connsiteX4" fmla="*/ 75244 w 99379"/>
                <a:gd name="connsiteY4" fmla="*/ 54881 h 127773"/>
                <a:gd name="connsiteX5" fmla="*/ 106478 w 99379"/>
                <a:gd name="connsiteY5" fmla="*/ 73337 h 127773"/>
                <a:gd name="connsiteX6" fmla="*/ 72405 w 99379"/>
                <a:gd name="connsiteY6" fmla="*/ 127286 h 127773"/>
                <a:gd name="connsiteX7" fmla="*/ 31234 w 99379"/>
                <a:gd name="connsiteY7" fmla="*/ 94633 h 127773"/>
                <a:gd name="connsiteX8" fmla="*/ 0 w 99379"/>
                <a:gd name="connsiteY8" fmla="*/ 81856 h 127773"/>
                <a:gd name="connsiteX9" fmla="*/ 18456 w 99379"/>
                <a:gd name="connsiteY9" fmla="*/ 46363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9379" h="127773">
                  <a:moveTo>
                    <a:pt x="18456" y="46363"/>
                  </a:moveTo>
                  <a:cubicBezTo>
                    <a:pt x="18456" y="46363"/>
                    <a:pt x="41171" y="54881"/>
                    <a:pt x="51109" y="43524"/>
                  </a:cubicBezTo>
                  <a:cubicBezTo>
                    <a:pt x="59628" y="35005"/>
                    <a:pt x="73825" y="19389"/>
                    <a:pt x="75244" y="15130"/>
                  </a:cubicBezTo>
                  <a:cubicBezTo>
                    <a:pt x="76664" y="10870"/>
                    <a:pt x="89441" y="-6166"/>
                    <a:pt x="92281" y="2352"/>
                  </a:cubicBezTo>
                  <a:cubicBezTo>
                    <a:pt x="95120" y="10870"/>
                    <a:pt x="80923" y="49202"/>
                    <a:pt x="75244" y="54881"/>
                  </a:cubicBezTo>
                  <a:cubicBezTo>
                    <a:pt x="69566" y="59140"/>
                    <a:pt x="102219" y="67659"/>
                    <a:pt x="106478" y="73337"/>
                  </a:cubicBezTo>
                  <a:cubicBezTo>
                    <a:pt x="110737" y="79016"/>
                    <a:pt x="93700" y="135804"/>
                    <a:pt x="72405" y="127286"/>
                  </a:cubicBezTo>
                  <a:cubicBezTo>
                    <a:pt x="51109" y="118768"/>
                    <a:pt x="34073" y="96053"/>
                    <a:pt x="31234" y="94633"/>
                  </a:cubicBezTo>
                  <a:cubicBezTo>
                    <a:pt x="25555" y="91794"/>
                    <a:pt x="0" y="81856"/>
                    <a:pt x="0" y="81856"/>
                  </a:cubicBezTo>
                  <a:lnTo>
                    <a:pt x="18456" y="46363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5" name="任意多边形: 形状 10014">
              <a:extLst>
                <a:ext uri="{FF2B5EF4-FFF2-40B4-BE49-F238E27FC236}">
                  <a16:creationId xmlns:a16="http://schemas.microsoft.com/office/drawing/2014/main" id="{9E104D57-632A-4F56-904D-A195701076CF}"/>
                </a:ext>
              </a:extLst>
            </p:cNvPr>
            <p:cNvSpPr/>
            <p:nvPr userDrawn="1"/>
          </p:nvSpPr>
          <p:spPr>
            <a:xfrm>
              <a:off x="6914119" y="4477403"/>
              <a:ext cx="99379" cy="85182"/>
            </a:xfrm>
            <a:custGeom>
              <a:avLst/>
              <a:gdLst>
                <a:gd name="connsiteX0" fmla="*/ 26974 w 99379"/>
                <a:gd name="connsiteY0" fmla="*/ 0 h 85182"/>
                <a:gd name="connsiteX1" fmla="*/ 95120 w 99379"/>
                <a:gd name="connsiteY1" fmla="*/ 35493 h 85182"/>
                <a:gd name="connsiteX2" fmla="*/ 89441 w 99379"/>
                <a:gd name="connsiteY2" fmla="*/ 42591 h 85182"/>
                <a:gd name="connsiteX3" fmla="*/ 25554 w 99379"/>
                <a:gd name="connsiteY3" fmla="*/ 15617 h 85182"/>
                <a:gd name="connsiteX4" fmla="*/ 100799 w 99379"/>
                <a:gd name="connsiteY4" fmla="*/ 68146 h 85182"/>
                <a:gd name="connsiteX5" fmla="*/ 96540 w 99379"/>
                <a:gd name="connsiteY5" fmla="*/ 76664 h 85182"/>
                <a:gd name="connsiteX6" fmla="*/ 19876 w 99379"/>
                <a:gd name="connsiteY6" fmla="*/ 32653 h 85182"/>
                <a:gd name="connsiteX7" fmla="*/ 88021 w 99379"/>
                <a:gd name="connsiteY7" fmla="*/ 82343 h 85182"/>
                <a:gd name="connsiteX8" fmla="*/ 79503 w 99379"/>
                <a:gd name="connsiteY8" fmla="*/ 89441 h 85182"/>
                <a:gd name="connsiteX9" fmla="*/ 9938 w 99379"/>
                <a:gd name="connsiteY9" fmla="*/ 48270 h 85182"/>
                <a:gd name="connsiteX10" fmla="*/ 55368 w 99379"/>
                <a:gd name="connsiteY10" fmla="*/ 89441 h 85182"/>
                <a:gd name="connsiteX11" fmla="*/ 41171 w 99379"/>
                <a:gd name="connsiteY11" fmla="*/ 89441 h 85182"/>
                <a:gd name="connsiteX12" fmla="*/ 0 w 99379"/>
                <a:gd name="connsiteY12" fmla="*/ 59627 h 85182"/>
                <a:gd name="connsiteX13" fmla="*/ 26974 w 99379"/>
                <a:gd name="connsiteY1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9379" h="85182">
                  <a:moveTo>
                    <a:pt x="26974" y="0"/>
                  </a:moveTo>
                  <a:cubicBezTo>
                    <a:pt x="26974" y="0"/>
                    <a:pt x="92281" y="29814"/>
                    <a:pt x="95120" y="35493"/>
                  </a:cubicBezTo>
                  <a:cubicBezTo>
                    <a:pt x="97959" y="41171"/>
                    <a:pt x="96540" y="45430"/>
                    <a:pt x="89441" y="42591"/>
                  </a:cubicBezTo>
                  <a:cubicBezTo>
                    <a:pt x="83762" y="39752"/>
                    <a:pt x="25554" y="15617"/>
                    <a:pt x="25554" y="15617"/>
                  </a:cubicBezTo>
                  <a:cubicBezTo>
                    <a:pt x="25554" y="15617"/>
                    <a:pt x="96540" y="63887"/>
                    <a:pt x="100799" y="68146"/>
                  </a:cubicBezTo>
                  <a:cubicBezTo>
                    <a:pt x="102219" y="70985"/>
                    <a:pt x="99379" y="78084"/>
                    <a:pt x="96540" y="76664"/>
                  </a:cubicBezTo>
                  <a:cubicBezTo>
                    <a:pt x="93700" y="75244"/>
                    <a:pt x="19876" y="32653"/>
                    <a:pt x="19876" y="32653"/>
                  </a:cubicBezTo>
                  <a:cubicBezTo>
                    <a:pt x="19876" y="32653"/>
                    <a:pt x="86602" y="78084"/>
                    <a:pt x="88021" y="82343"/>
                  </a:cubicBezTo>
                  <a:cubicBezTo>
                    <a:pt x="89441" y="86602"/>
                    <a:pt x="85182" y="92281"/>
                    <a:pt x="79503" y="89441"/>
                  </a:cubicBezTo>
                  <a:cubicBezTo>
                    <a:pt x="73824" y="86602"/>
                    <a:pt x="9938" y="48270"/>
                    <a:pt x="9938" y="48270"/>
                  </a:cubicBezTo>
                  <a:cubicBezTo>
                    <a:pt x="9938" y="48270"/>
                    <a:pt x="55368" y="83762"/>
                    <a:pt x="55368" y="89441"/>
                  </a:cubicBezTo>
                  <a:cubicBezTo>
                    <a:pt x="55368" y="93700"/>
                    <a:pt x="52529" y="97959"/>
                    <a:pt x="41171" y="89441"/>
                  </a:cubicBezTo>
                  <a:cubicBezTo>
                    <a:pt x="29814" y="79503"/>
                    <a:pt x="0" y="59627"/>
                    <a:pt x="0" y="59627"/>
                  </a:cubicBezTo>
                  <a:lnTo>
                    <a:pt x="26974" y="0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6" name="任意多边形: 形状 10015">
              <a:extLst>
                <a:ext uri="{FF2B5EF4-FFF2-40B4-BE49-F238E27FC236}">
                  <a16:creationId xmlns:a16="http://schemas.microsoft.com/office/drawing/2014/main" id="{66452032-0EF7-438A-9AAD-343B1A8F6A86}"/>
                </a:ext>
              </a:extLst>
            </p:cNvPr>
            <p:cNvSpPr/>
            <p:nvPr userDrawn="1"/>
          </p:nvSpPr>
          <p:spPr>
            <a:xfrm>
              <a:off x="6527959" y="3979973"/>
              <a:ext cx="340728" cy="511093"/>
            </a:xfrm>
            <a:custGeom>
              <a:avLst/>
              <a:gdLst>
                <a:gd name="connsiteX0" fmla="*/ 134872 w 340728"/>
                <a:gd name="connsiteY0" fmla="*/ 179417 h 511092"/>
                <a:gd name="connsiteX1" fmla="*/ 178883 w 340728"/>
                <a:gd name="connsiteY1" fmla="*/ 344102 h 511092"/>
                <a:gd name="connsiteX2" fmla="*/ 207277 w 340728"/>
                <a:gd name="connsiteY2" fmla="*/ 369657 h 511092"/>
                <a:gd name="connsiteX3" fmla="*/ 349247 w 340728"/>
                <a:gd name="connsiteY3" fmla="*/ 473295 h 511092"/>
                <a:gd name="connsiteX4" fmla="*/ 320853 w 340728"/>
                <a:gd name="connsiteY4" fmla="*/ 524404 h 511092"/>
                <a:gd name="connsiteX5" fmla="*/ 217214 w 340728"/>
                <a:gd name="connsiteY5" fmla="*/ 464777 h 511092"/>
                <a:gd name="connsiteX6" fmla="*/ 120675 w 340728"/>
                <a:gd name="connsiteY6" fmla="*/ 396631 h 511092"/>
                <a:gd name="connsiteX7" fmla="*/ 29814 w 340728"/>
                <a:gd name="connsiteY7" fmla="*/ 168059 h 511092"/>
                <a:gd name="connsiteX8" fmla="*/ 14197 w 340728"/>
                <a:gd name="connsiteY8" fmla="*/ 99914 h 511092"/>
                <a:gd name="connsiteX9" fmla="*/ 0 w 340728"/>
                <a:gd name="connsiteY9" fmla="*/ 18991 h 511092"/>
                <a:gd name="connsiteX10" fmla="*/ 0 w 340728"/>
                <a:gd name="connsiteY10" fmla="*/ 14731 h 511092"/>
                <a:gd name="connsiteX11" fmla="*/ 0 w 340728"/>
                <a:gd name="connsiteY11" fmla="*/ 14731 h 511092"/>
                <a:gd name="connsiteX12" fmla="*/ 73825 w 340728"/>
                <a:gd name="connsiteY12" fmla="*/ 16151 h 511092"/>
                <a:gd name="connsiteX13" fmla="*/ 134872 w 340728"/>
                <a:gd name="connsiteY13" fmla="*/ 179417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0728" h="511092">
                  <a:moveTo>
                    <a:pt x="134872" y="179417"/>
                  </a:moveTo>
                  <a:cubicBezTo>
                    <a:pt x="147649" y="241884"/>
                    <a:pt x="173204" y="332745"/>
                    <a:pt x="178883" y="344102"/>
                  </a:cubicBezTo>
                  <a:cubicBezTo>
                    <a:pt x="181722" y="349781"/>
                    <a:pt x="193080" y="358299"/>
                    <a:pt x="207277" y="369657"/>
                  </a:cubicBezTo>
                  <a:cubicBezTo>
                    <a:pt x="228572" y="388113"/>
                    <a:pt x="349247" y="473295"/>
                    <a:pt x="349247" y="473295"/>
                  </a:cubicBezTo>
                  <a:cubicBezTo>
                    <a:pt x="349247" y="494591"/>
                    <a:pt x="320853" y="524404"/>
                    <a:pt x="320853" y="524404"/>
                  </a:cubicBezTo>
                  <a:cubicBezTo>
                    <a:pt x="300977" y="511627"/>
                    <a:pt x="261225" y="488912"/>
                    <a:pt x="217214" y="464777"/>
                  </a:cubicBezTo>
                  <a:cubicBezTo>
                    <a:pt x="167525" y="437803"/>
                    <a:pt x="130613" y="410828"/>
                    <a:pt x="120675" y="396631"/>
                  </a:cubicBezTo>
                  <a:cubicBezTo>
                    <a:pt x="103638" y="369657"/>
                    <a:pt x="41171" y="207811"/>
                    <a:pt x="29814" y="168059"/>
                  </a:cubicBezTo>
                  <a:cubicBezTo>
                    <a:pt x="25555" y="152443"/>
                    <a:pt x="19876" y="125468"/>
                    <a:pt x="14197" y="99914"/>
                  </a:cubicBezTo>
                  <a:cubicBezTo>
                    <a:pt x="8518" y="65841"/>
                    <a:pt x="2840" y="30348"/>
                    <a:pt x="0" y="18991"/>
                  </a:cubicBezTo>
                  <a:cubicBezTo>
                    <a:pt x="0" y="16151"/>
                    <a:pt x="0" y="16151"/>
                    <a:pt x="0" y="14731"/>
                  </a:cubicBezTo>
                  <a:cubicBezTo>
                    <a:pt x="0" y="14731"/>
                    <a:pt x="0" y="14731"/>
                    <a:pt x="0" y="14731"/>
                  </a:cubicBezTo>
                  <a:cubicBezTo>
                    <a:pt x="0" y="14731"/>
                    <a:pt x="25555" y="-19341"/>
                    <a:pt x="73825" y="16151"/>
                  </a:cubicBezTo>
                  <a:cubicBezTo>
                    <a:pt x="73825" y="16151"/>
                    <a:pt x="107897" y="50224"/>
                    <a:pt x="134872" y="179417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7" name="任意多边形: 形状 10016">
              <a:extLst>
                <a:ext uri="{FF2B5EF4-FFF2-40B4-BE49-F238E27FC236}">
                  <a16:creationId xmlns:a16="http://schemas.microsoft.com/office/drawing/2014/main" id="{26E708A0-2D9B-4D26-9275-F9DCCDF74DF6}"/>
                </a:ext>
              </a:extLst>
            </p:cNvPr>
            <p:cNvSpPr/>
            <p:nvPr userDrawn="1"/>
          </p:nvSpPr>
          <p:spPr>
            <a:xfrm>
              <a:off x="6689806" y="5229846"/>
              <a:ext cx="127773" cy="113576"/>
            </a:xfrm>
            <a:custGeom>
              <a:avLst/>
              <a:gdLst>
                <a:gd name="connsiteX0" fmla="*/ 68146 w 127773"/>
                <a:gd name="connsiteY0" fmla="*/ 124934 h 113576"/>
                <a:gd name="connsiteX1" fmla="*/ 0 w 127773"/>
                <a:gd name="connsiteY1" fmla="*/ 62467 h 113576"/>
                <a:gd name="connsiteX2" fmla="*/ 68146 w 127773"/>
                <a:gd name="connsiteY2" fmla="*/ 0 h 113576"/>
                <a:gd name="connsiteX3" fmla="*/ 136291 w 127773"/>
                <a:gd name="connsiteY3" fmla="*/ 62467 h 113576"/>
                <a:gd name="connsiteX4" fmla="*/ 68146 w 127773"/>
                <a:gd name="connsiteY4" fmla="*/ 124934 h 113576"/>
                <a:gd name="connsiteX5" fmla="*/ 68146 w 127773"/>
                <a:gd name="connsiteY5" fmla="*/ 14197 h 113576"/>
                <a:gd name="connsiteX6" fmla="*/ 15617 w 127773"/>
                <a:gd name="connsiteY6" fmla="*/ 62467 h 113576"/>
                <a:gd name="connsiteX7" fmla="*/ 68146 w 127773"/>
                <a:gd name="connsiteY7" fmla="*/ 110737 h 113576"/>
                <a:gd name="connsiteX8" fmla="*/ 120675 w 127773"/>
                <a:gd name="connsiteY8" fmla="*/ 62467 h 113576"/>
                <a:gd name="connsiteX9" fmla="*/ 68146 w 127773"/>
                <a:gd name="connsiteY9" fmla="*/ 14197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7773" h="113576">
                  <a:moveTo>
                    <a:pt x="68146" y="124934"/>
                  </a:moveTo>
                  <a:cubicBezTo>
                    <a:pt x="31233" y="124934"/>
                    <a:pt x="0" y="96540"/>
                    <a:pt x="0" y="62467"/>
                  </a:cubicBezTo>
                  <a:cubicBezTo>
                    <a:pt x="0" y="28394"/>
                    <a:pt x="29814" y="0"/>
                    <a:pt x="68146" y="0"/>
                  </a:cubicBezTo>
                  <a:cubicBezTo>
                    <a:pt x="105058" y="0"/>
                    <a:pt x="136291" y="28394"/>
                    <a:pt x="136291" y="62467"/>
                  </a:cubicBezTo>
                  <a:cubicBezTo>
                    <a:pt x="136291" y="97959"/>
                    <a:pt x="105058" y="124934"/>
                    <a:pt x="68146" y="124934"/>
                  </a:cubicBezTo>
                  <a:close/>
                  <a:moveTo>
                    <a:pt x="68146" y="14197"/>
                  </a:moveTo>
                  <a:cubicBezTo>
                    <a:pt x="39752" y="14197"/>
                    <a:pt x="15617" y="35493"/>
                    <a:pt x="15617" y="62467"/>
                  </a:cubicBezTo>
                  <a:cubicBezTo>
                    <a:pt x="15617" y="89441"/>
                    <a:pt x="39752" y="110737"/>
                    <a:pt x="68146" y="110737"/>
                  </a:cubicBezTo>
                  <a:cubicBezTo>
                    <a:pt x="96540" y="110737"/>
                    <a:pt x="120675" y="89441"/>
                    <a:pt x="120675" y="62467"/>
                  </a:cubicBezTo>
                  <a:cubicBezTo>
                    <a:pt x="120675" y="35493"/>
                    <a:pt x="96540" y="14197"/>
                    <a:pt x="68146" y="14197"/>
                  </a:cubicBezTo>
                  <a:close/>
                </a:path>
              </a:pathLst>
            </a:custGeom>
            <a:solidFill>
              <a:srgbClr val="E8586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8" name="任意多边形: 形状 10017">
              <a:extLst>
                <a:ext uri="{FF2B5EF4-FFF2-40B4-BE49-F238E27FC236}">
                  <a16:creationId xmlns:a16="http://schemas.microsoft.com/office/drawing/2014/main" id="{99CB4295-FCD6-438E-96D6-1DD530F6E819}"/>
                </a:ext>
              </a:extLst>
            </p:cNvPr>
            <p:cNvSpPr/>
            <p:nvPr userDrawn="1"/>
          </p:nvSpPr>
          <p:spPr>
            <a:xfrm>
              <a:off x="6587587" y="5513786"/>
              <a:ext cx="326531" cy="156167"/>
            </a:xfrm>
            <a:custGeom>
              <a:avLst/>
              <a:gdLst>
                <a:gd name="connsiteX0" fmla="*/ 0 w 326531"/>
                <a:gd name="connsiteY0" fmla="*/ 0 h 156167"/>
                <a:gd name="connsiteX1" fmla="*/ 339309 w 326531"/>
                <a:gd name="connsiteY1" fmla="*/ 0 h 156167"/>
                <a:gd name="connsiteX2" fmla="*/ 339309 w 326531"/>
                <a:gd name="connsiteY2" fmla="*/ 168945 h 156167"/>
                <a:gd name="connsiteX3" fmla="*/ 0 w 326531"/>
                <a:gd name="connsiteY3" fmla="*/ 168945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531" h="156167">
                  <a:moveTo>
                    <a:pt x="0" y="0"/>
                  </a:moveTo>
                  <a:lnTo>
                    <a:pt x="339309" y="0"/>
                  </a:lnTo>
                  <a:lnTo>
                    <a:pt x="339309" y="168945"/>
                  </a:lnTo>
                  <a:lnTo>
                    <a:pt x="0" y="168945"/>
                  </a:lnTo>
                  <a:close/>
                </a:path>
              </a:pathLst>
            </a:custGeom>
            <a:solidFill>
              <a:srgbClr val="AD425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9" name="任意多边形: 形状 10018">
              <a:extLst>
                <a:ext uri="{FF2B5EF4-FFF2-40B4-BE49-F238E27FC236}">
                  <a16:creationId xmlns:a16="http://schemas.microsoft.com/office/drawing/2014/main" id="{49341469-EFE4-4AE9-9595-1FB06351FD54}"/>
                </a:ext>
              </a:extLst>
            </p:cNvPr>
            <p:cNvSpPr/>
            <p:nvPr userDrawn="1"/>
          </p:nvSpPr>
          <p:spPr>
            <a:xfrm>
              <a:off x="6602573" y="5263912"/>
              <a:ext cx="312334" cy="440108"/>
            </a:xfrm>
            <a:custGeom>
              <a:avLst/>
              <a:gdLst>
                <a:gd name="connsiteX0" fmla="*/ 631 w 312334"/>
                <a:gd name="connsiteY0" fmla="*/ 451472 h 440107"/>
                <a:gd name="connsiteX1" fmla="*/ 631 w 312334"/>
                <a:gd name="connsiteY1" fmla="*/ 208702 h 440107"/>
                <a:gd name="connsiteX2" fmla="*/ 156798 w 312334"/>
                <a:gd name="connsiteY2" fmla="*/ 6 h 440107"/>
                <a:gd name="connsiteX3" fmla="*/ 312965 w 312334"/>
                <a:gd name="connsiteY3" fmla="*/ 208702 h 440107"/>
                <a:gd name="connsiteX4" fmla="*/ 312965 w 312334"/>
                <a:gd name="connsiteY4" fmla="*/ 451472 h 440107"/>
                <a:gd name="connsiteX5" fmla="*/ 631 w 312334"/>
                <a:gd name="connsiteY5" fmla="*/ 451472 h 440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334" h="440107">
                  <a:moveTo>
                    <a:pt x="631" y="451472"/>
                  </a:moveTo>
                  <a:cubicBezTo>
                    <a:pt x="631" y="451472"/>
                    <a:pt x="-789" y="413140"/>
                    <a:pt x="631" y="208702"/>
                  </a:cubicBezTo>
                  <a:cubicBezTo>
                    <a:pt x="2051" y="-4253"/>
                    <a:pt x="156798" y="6"/>
                    <a:pt x="156798" y="6"/>
                  </a:cubicBezTo>
                  <a:cubicBezTo>
                    <a:pt x="156798" y="6"/>
                    <a:pt x="311546" y="-2833"/>
                    <a:pt x="312965" y="208702"/>
                  </a:cubicBezTo>
                  <a:cubicBezTo>
                    <a:pt x="314385" y="413140"/>
                    <a:pt x="312965" y="451472"/>
                    <a:pt x="312965" y="451472"/>
                  </a:cubicBezTo>
                  <a:lnTo>
                    <a:pt x="631" y="451472"/>
                  </a:lnTo>
                  <a:close/>
                </a:path>
              </a:pathLst>
            </a:custGeom>
            <a:solidFill>
              <a:srgbClr val="F55D7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0" name="任意多边形: 形状 10019">
              <a:extLst>
                <a:ext uri="{FF2B5EF4-FFF2-40B4-BE49-F238E27FC236}">
                  <a16:creationId xmlns:a16="http://schemas.microsoft.com/office/drawing/2014/main" id="{6D789371-6A22-45FD-A258-BC3C07C1E7F2}"/>
                </a:ext>
              </a:extLst>
            </p:cNvPr>
            <p:cNvSpPr/>
            <p:nvPr userDrawn="1"/>
          </p:nvSpPr>
          <p:spPr>
            <a:xfrm>
              <a:off x="6638696" y="5513786"/>
              <a:ext cx="241349" cy="156167"/>
            </a:xfrm>
            <a:custGeom>
              <a:avLst/>
              <a:gdLst>
                <a:gd name="connsiteX0" fmla="*/ 0 w 241349"/>
                <a:gd name="connsiteY0" fmla="*/ 0 h 156167"/>
                <a:gd name="connsiteX1" fmla="*/ 241349 w 241349"/>
                <a:gd name="connsiteY1" fmla="*/ 0 h 156167"/>
                <a:gd name="connsiteX2" fmla="*/ 241349 w 241349"/>
                <a:gd name="connsiteY2" fmla="*/ 168945 h 156167"/>
                <a:gd name="connsiteX3" fmla="*/ 0 w 241349"/>
                <a:gd name="connsiteY3" fmla="*/ 168945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49" h="156167">
                  <a:moveTo>
                    <a:pt x="0" y="0"/>
                  </a:moveTo>
                  <a:lnTo>
                    <a:pt x="241349" y="0"/>
                  </a:lnTo>
                  <a:lnTo>
                    <a:pt x="241349" y="168945"/>
                  </a:lnTo>
                  <a:lnTo>
                    <a:pt x="0" y="168945"/>
                  </a:lnTo>
                  <a:close/>
                </a:path>
              </a:pathLst>
            </a:custGeom>
            <a:solidFill>
              <a:srgbClr val="FF617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1" name="任意多边形: 形状 10020">
              <a:extLst>
                <a:ext uri="{FF2B5EF4-FFF2-40B4-BE49-F238E27FC236}">
                  <a16:creationId xmlns:a16="http://schemas.microsoft.com/office/drawing/2014/main" id="{E46BA61B-8F02-4D97-BF7F-CF7DCC77A212}"/>
                </a:ext>
              </a:extLst>
            </p:cNvPr>
            <p:cNvSpPr/>
            <p:nvPr userDrawn="1"/>
          </p:nvSpPr>
          <p:spPr>
            <a:xfrm>
              <a:off x="6638696" y="5513786"/>
              <a:ext cx="241349" cy="42591"/>
            </a:xfrm>
            <a:custGeom>
              <a:avLst/>
              <a:gdLst>
                <a:gd name="connsiteX0" fmla="*/ 0 w 241349"/>
                <a:gd name="connsiteY0" fmla="*/ 0 h 42591"/>
                <a:gd name="connsiteX1" fmla="*/ 241349 w 241349"/>
                <a:gd name="connsiteY1" fmla="*/ 0 h 42591"/>
                <a:gd name="connsiteX2" fmla="*/ 241349 w 241349"/>
                <a:gd name="connsiteY2" fmla="*/ 46850 h 42591"/>
                <a:gd name="connsiteX3" fmla="*/ 0 w 241349"/>
                <a:gd name="connsiteY3" fmla="*/ 4685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49" h="42591">
                  <a:moveTo>
                    <a:pt x="0" y="0"/>
                  </a:moveTo>
                  <a:lnTo>
                    <a:pt x="241349" y="0"/>
                  </a:lnTo>
                  <a:lnTo>
                    <a:pt x="241349" y="46850"/>
                  </a:lnTo>
                  <a:lnTo>
                    <a:pt x="0" y="46850"/>
                  </a:lnTo>
                  <a:close/>
                </a:path>
              </a:pathLst>
            </a:custGeom>
            <a:solidFill>
              <a:srgbClr val="C24A5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2" name="任意多边形: 形状 10021">
              <a:extLst>
                <a:ext uri="{FF2B5EF4-FFF2-40B4-BE49-F238E27FC236}">
                  <a16:creationId xmlns:a16="http://schemas.microsoft.com/office/drawing/2014/main" id="{D4EE91BC-99ED-4E2F-9918-7D65238211DF}"/>
                </a:ext>
              </a:extLst>
            </p:cNvPr>
            <p:cNvSpPr/>
            <p:nvPr userDrawn="1"/>
          </p:nvSpPr>
          <p:spPr>
            <a:xfrm>
              <a:off x="6046540" y="5583922"/>
              <a:ext cx="212955" cy="127773"/>
            </a:xfrm>
            <a:custGeom>
              <a:avLst/>
              <a:gdLst>
                <a:gd name="connsiteX0" fmla="*/ 169084 w 212955"/>
                <a:gd name="connsiteY0" fmla="*/ 17886 h 127773"/>
                <a:gd name="connsiteX1" fmla="*/ 143530 w 212955"/>
                <a:gd name="connsiteY1" fmla="*/ 849 h 127773"/>
                <a:gd name="connsiteX2" fmla="*/ 123654 w 212955"/>
                <a:gd name="connsiteY2" fmla="*/ 3689 h 127773"/>
                <a:gd name="connsiteX3" fmla="*/ 103778 w 212955"/>
                <a:gd name="connsiteY3" fmla="*/ 29243 h 127773"/>
                <a:gd name="connsiteX4" fmla="*/ 48410 w 212955"/>
                <a:gd name="connsiteY4" fmla="*/ 76093 h 127773"/>
                <a:gd name="connsiteX5" fmla="*/ 140 w 212955"/>
                <a:gd name="connsiteY5" fmla="*/ 100228 h 127773"/>
                <a:gd name="connsiteX6" fmla="*/ 96680 w 212955"/>
                <a:gd name="connsiteY6" fmla="*/ 130042 h 127773"/>
                <a:gd name="connsiteX7" fmla="*/ 183282 w 212955"/>
                <a:gd name="connsiteY7" fmla="*/ 103068 h 127773"/>
                <a:gd name="connsiteX8" fmla="*/ 213095 w 212955"/>
                <a:gd name="connsiteY8" fmla="*/ 59057 h 127773"/>
                <a:gd name="connsiteX9" fmla="*/ 186121 w 212955"/>
                <a:gd name="connsiteY9" fmla="*/ 12207 h 127773"/>
                <a:gd name="connsiteX10" fmla="*/ 169084 w 212955"/>
                <a:gd name="connsiteY10" fmla="*/ 17886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2955" h="127773">
                  <a:moveTo>
                    <a:pt x="169084" y="17886"/>
                  </a:moveTo>
                  <a:cubicBezTo>
                    <a:pt x="169084" y="17886"/>
                    <a:pt x="152048" y="2269"/>
                    <a:pt x="143530" y="849"/>
                  </a:cubicBezTo>
                  <a:cubicBezTo>
                    <a:pt x="135012" y="-571"/>
                    <a:pt x="126493" y="-571"/>
                    <a:pt x="123654" y="3689"/>
                  </a:cubicBezTo>
                  <a:cubicBezTo>
                    <a:pt x="119395" y="7948"/>
                    <a:pt x="109457" y="23564"/>
                    <a:pt x="103778" y="29243"/>
                  </a:cubicBezTo>
                  <a:cubicBezTo>
                    <a:pt x="98099" y="34922"/>
                    <a:pt x="56928" y="73254"/>
                    <a:pt x="48410" y="76093"/>
                  </a:cubicBezTo>
                  <a:cubicBezTo>
                    <a:pt x="38472" y="78933"/>
                    <a:pt x="-2699" y="76093"/>
                    <a:pt x="140" y="100228"/>
                  </a:cubicBezTo>
                  <a:cubicBezTo>
                    <a:pt x="2979" y="124363"/>
                    <a:pt x="35633" y="134301"/>
                    <a:pt x="96680" y="130042"/>
                  </a:cubicBezTo>
                  <a:cubicBezTo>
                    <a:pt x="156307" y="124363"/>
                    <a:pt x="149209" y="110166"/>
                    <a:pt x="183282" y="103068"/>
                  </a:cubicBezTo>
                  <a:cubicBezTo>
                    <a:pt x="217354" y="95969"/>
                    <a:pt x="218774" y="78933"/>
                    <a:pt x="213095" y="59057"/>
                  </a:cubicBezTo>
                  <a:cubicBezTo>
                    <a:pt x="207417" y="39181"/>
                    <a:pt x="183282" y="17886"/>
                    <a:pt x="186121" y="12207"/>
                  </a:cubicBezTo>
                  <a:cubicBezTo>
                    <a:pt x="186121" y="6528"/>
                    <a:pt x="169084" y="17886"/>
                    <a:pt x="169084" y="17886"/>
                  </a:cubicBezTo>
                  <a:close/>
                </a:path>
              </a:pathLst>
            </a:custGeom>
            <a:solidFill>
              <a:srgbClr val="A1542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3" name="任意多边形: 形状 10022">
              <a:extLst>
                <a:ext uri="{FF2B5EF4-FFF2-40B4-BE49-F238E27FC236}">
                  <a16:creationId xmlns:a16="http://schemas.microsoft.com/office/drawing/2014/main" id="{F6FA11B2-A12A-45F6-B3CA-FF28BB419B04}"/>
                </a:ext>
              </a:extLst>
            </p:cNvPr>
            <p:cNvSpPr/>
            <p:nvPr userDrawn="1"/>
          </p:nvSpPr>
          <p:spPr>
            <a:xfrm>
              <a:off x="6165935" y="3781749"/>
              <a:ext cx="127773" cy="141970"/>
            </a:xfrm>
            <a:custGeom>
              <a:avLst/>
              <a:gdLst>
                <a:gd name="connsiteX0" fmla="*/ 58208 w 127773"/>
                <a:gd name="connsiteY0" fmla="*/ 149069 h 141970"/>
                <a:gd name="connsiteX1" fmla="*/ 136291 w 127773"/>
                <a:gd name="connsiteY1" fmla="*/ 32653 h 141970"/>
                <a:gd name="connsiteX2" fmla="*/ 66726 w 127773"/>
                <a:gd name="connsiteY2" fmla="*/ 0 h 141970"/>
                <a:gd name="connsiteX3" fmla="*/ 0 w 127773"/>
                <a:gd name="connsiteY3" fmla="*/ 116416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773" h="141970">
                  <a:moveTo>
                    <a:pt x="58208" y="149069"/>
                  </a:moveTo>
                  <a:lnTo>
                    <a:pt x="136291" y="32653"/>
                  </a:lnTo>
                  <a:lnTo>
                    <a:pt x="66726" y="0"/>
                  </a:lnTo>
                  <a:lnTo>
                    <a:pt x="0" y="116416"/>
                  </a:lnTo>
                  <a:close/>
                </a:path>
              </a:pathLst>
            </a:custGeom>
            <a:solidFill>
              <a:srgbClr val="5157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4" name="任意多边形: 形状 10023">
              <a:extLst>
                <a:ext uri="{FF2B5EF4-FFF2-40B4-BE49-F238E27FC236}">
                  <a16:creationId xmlns:a16="http://schemas.microsoft.com/office/drawing/2014/main" id="{A34F92B2-F97E-4C87-ABBB-4284577C959D}"/>
                </a:ext>
              </a:extLst>
            </p:cNvPr>
            <p:cNvSpPr/>
            <p:nvPr userDrawn="1"/>
          </p:nvSpPr>
          <p:spPr>
            <a:xfrm>
              <a:off x="6173034" y="3791687"/>
              <a:ext cx="113576" cy="127773"/>
            </a:xfrm>
            <a:custGeom>
              <a:avLst/>
              <a:gdLst>
                <a:gd name="connsiteX0" fmla="*/ 51109 w 113576"/>
                <a:gd name="connsiteY0" fmla="*/ 129193 h 127773"/>
                <a:gd name="connsiteX1" fmla="*/ 119255 w 113576"/>
                <a:gd name="connsiteY1" fmla="*/ 28394 h 127773"/>
                <a:gd name="connsiteX2" fmla="*/ 58208 w 113576"/>
                <a:gd name="connsiteY2" fmla="*/ 0 h 127773"/>
                <a:gd name="connsiteX3" fmla="*/ 0 w 113576"/>
                <a:gd name="connsiteY3" fmla="*/ 100799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127773">
                  <a:moveTo>
                    <a:pt x="51109" y="129193"/>
                  </a:moveTo>
                  <a:lnTo>
                    <a:pt x="119255" y="28394"/>
                  </a:lnTo>
                  <a:lnTo>
                    <a:pt x="58208" y="0"/>
                  </a:lnTo>
                  <a:lnTo>
                    <a:pt x="0" y="100799"/>
                  </a:lnTo>
                  <a:close/>
                </a:path>
              </a:pathLst>
            </a:custGeom>
            <a:solidFill>
              <a:srgbClr val="D5CAE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5" name="任意多边形: 形状 10024">
              <a:extLst>
                <a:ext uri="{FF2B5EF4-FFF2-40B4-BE49-F238E27FC236}">
                  <a16:creationId xmlns:a16="http://schemas.microsoft.com/office/drawing/2014/main" id="{8A974BEB-5B0D-4CD7-B116-6EF5F6E3D0BF}"/>
                </a:ext>
              </a:extLst>
            </p:cNvPr>
            <p:cNvSpPr/>
            <p:nvPr userDrawn="1"/>
          </p:nvSpPr>
          <p:spPr>
            <a:xfrm>
              <a:off x="6166784" y="3902424"/>
              <a:ext cx="56788" cy="56788"/>
            </a:xfrm>
            <a:custGeom>
              <a:avLst/>
              <a:gdLst>
                <a:gd name="connsiteX0" fmla="*/ 571 w 56788"/>
                <a:gd name="connsiteY0" fmla="*/ 44011 h 56788"/>
                <a:gd name="connsiteX1" fmla="*/ 6250 w 56788"/>
                <a:gd name="connsiteY1" fmla="*/ 21296 h 56788"/>
                <a:gd name="connsiteX2" fmla="*/ 3411 w 56788"/>
                <a:gd name="connsiteY2" fmla="*/ 0 h 56788"/>
                <a:gd name="connsiteX3" fmla="*/ 68717 w 56788"/>
                <a:gd name="connsiteY3" fmla="*/ 35493 h 56788"/>
                <a:gd name="connsiteX4" fmla="*/ 41742 w 56788"/>
                <a:gd name="connsiteY4" fmla="*/ 68146 h 56788"/>
                <a:gd name="connsiteX5" fmla="*/ 571 w 56788"/>
                <a:gd name="connsiteY5" fmla="*/ 44011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788" h="56788">
                  <a:moveTo>
                    <a:pt x="571" y="44011"/>
                  </a:moveTo>
                  <a:cubicBezTo>
                    <a:pt x="571" y="44011"/>
                    <a:pt x="14768" y="36912"/>
                    <a:pt x="6250" y="21296"/>
                  </a:cubicBezTo>
                  <a:cubicBezTo>
                    <a:pt x="-2268" y="5679"/>
                    <a:pt x="3411" y="0"/>
                    <a:pt x="3411" y="0"/>
                  </a:cubicBezTo>
                  <a:lnTo>
                    <a:pt x="68717" y="35493"/>
                  </a:lnTo>
                  <a:cubicBezTo>
                    <a:pt x="68717" y="35493"/>
                    <a:pt x="48841" y="65306"/>
                    <a:pt x="41742" y="68146"/>
                  </a:cubicBezTo>
                  <a:cubicBezTo>
                    <a:pt x="33224" y="69565"/>
                    <a:pt x="-5108" y="55368"/>
                    <a:pt x="571" y="44011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6" name="任意多边形: 形状 10025">
              <a:extLst>
                <a:ext uri="{FF2B5EF4-FFF2-40B4-BE49-F238E27FC236}">
                  <a16:creationId xmlns:a16="http://schemas.microsoft.com/office/drawing/2014/main" id="{0281BA27-3826-4BE3-A550-41DD2F17B59C}"/>
                </a:ext>
              </a:extLst>
            </p:cNvPr>
            <p:cNvSpPr/>
            <p:nvPr userDrawn="1"/>
          </p:nvSpPr>
          <p:spPr>
            <a:xfrm>
              <a:off x="6208127" y="3871649"/>
              <a:ext cx="70985" cy="56788"/>
            </a:xfrm>
            <a:custGeom>
              <a:avLst/>
              <a:gdLst>
                <a:gd name="connsiteX0" fmla="*/ 27374 w 70985"/>
                <a:gd name="connsiteY0" fmla="*/ 64848 h 56788"/>
                <a:gd name="connsiteX1" fmla="*/ 57187 w 70985"/>
                <a:gd name="connsiteY1" fmla="*/ 33614 h 56788"/>
                <a:gd name="connsiteX2" fmla="*/ 74224 w 70985"/>
                <a:gd name="connsiteY2" fmla="*/ 3801 h 56788"/>
                <a:gd name="connsiteX3" fmla="*/ 50089 w 70985"/>
                <a:gd name="connsiteY3" fmla="*/ 12319 h 56788"/>
                <a:gd name="connsiteX4" fmla="*/ 35892 w 70985"/>
                <a:gd name="connsiteY4" fmla="*/ 29355 h 56788"/>
                <a:gd name="connsiteX5" fmla="*/ 399 w 70985"/>
                <a:gd name="connsiteY5" fmla="*/ 50651 h 56788"/>
                <a:gd name="connsiteX6" fmla="*/ 27374 w 70985"/>
                <a:gd name="connsiteY6" fmla="*/ 64848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85" h="56788">
                  <a:moveTo>
                    <a:pt x="27374" y="64848"/>
                  </a:moveTo>
                  <a:cubicBezTo>
                    <a:pt x="27374" y="64848"/>
                    <a:pt x="54348" y="37873"/>
                    <a:pt x="57187" y="33614"/>
                  </a:cubicBezTo>
                  <a:cubicBezTo>
                    <a:pt x="60027" y="29355"/>
                    <a:pt x="69965" y="13738"/>
                    <a:pt x="74224" y="3801"/>
                  </a:cubicBezTo>
                  <a:cubicBezTo>
                    <a:pt x="78483" y="-4718"/>
                    <a:pt x="55768" y="2381"/>
                    <a:pt x="50089" y="12319"/>
                  </a:cubicBezTo>
                  <a:cubicBezTo>
                    <a:pt x="45830" y="22257"/>
                    <a:pt x="40151" y="26516"/>
                    <a:pt x="35892" y="29355"/>
                  </a:cubicBezTo>
                  <a:cubicBezTo>
                    <a:pt x="31633" y="32195"/>
                    <a:pt x="3239" y="40713"/>
                    <a:pt x="399" y="50651"/>
                  </a:cubicBezTo>
                  <a:cubicBezTo>
                    <a:pt x="-3860" y="59169"/>
                    <a:pt x="27374" y="64848"/>
                    <a:pt x="27374" y="64848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7" name="任意多边形: 形状 10026">
              <a:extLst>
                <a:ext uri="{FF2B5EF4-FFF2-40B4-BE49-F238E27FC236}">
                  <a16:creationId xmlns:a16="http://schemas.microsoft.com/office/drawing/2014/main" id="{E325E561-EE53-46BA-A6CD-C278D69FDF91}"/>
                </a:ext>
              </a:extLst>
            </p:cNvPr>
            <p:cNvSpPr/>
            <p:nvPr userDrawn="1"/>
          </p:nvSpPr>
          <p:spPr>
            <a:xfrm>
              <a:off x="6172424" y="3870337"/>
              <a:ext cx="14197" cy="14197"/>
            </a:xfrm>
            <a:custGeom>
              <a:avLst/>
              <a:gdLst>
                <a:gd name="connsiteX0" fmla="*/ 4870 w 0"/>
                <a:gd name="connsiteY0" fmla="*/ 17890 h 14197"/>
                <a:gd name="connsiteX1" fmla="*/ 11968 w 0"/>
                <a:gd name="connsiteY1" fmla="*/ 15050 h 14197"/>
                <a:gd name="connsiteX2" fmla="*/ 3450 w 0"/>
                <a:gd name="connsiteY2" fmla="*/ 853 h 14197"/>
                <a:gd name="connsiteX3" fmla="*/ 4870 w 0"/>
                <a:gd name="connsiteY3" fmla="*/ 17890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4870" y="17890"/>
                  </a:moveTo>
                  <a:cubicBezTo>
                    <a:pt x="4870" y="17890"/>
                    <a:pt x="10548" y="22149"/>
                    <a:pt x="11968" y="15050"/>
                  </a:cubicBezTo>
                  <a:cubicBezTo>
                    <a:pt x="13388" y="9372"/>
                    <a:pt x="10548" y="-3406"/>
                    <a:pt x="3450" y="853"/>
                  </a:cubicBezTo>
                  <a:cubicBezTo>
                    <a:pt x="-5068" y="6532"/>
                    <a:pt x="4870" y="17890"/>
                    <a:pt x="4870" y="17890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8" name="任意多边形: 形状 10027">
              <a:extLst>
                <a:ext uri="{FF2B5EF4-FFF2-40B4-BE49-F238E27FC236}">
                  <a16:creationId xmlns:a16="http://schemas.microsoft.com/office/drawing/2014/main" id="{9F629155-EC09-44C3-9BBC-A8911823EFDC}"/>
                </a:ext>
              </a:extLst>
            </p:cNvPr>
            <p:cNvSpPr/>
            <p:nvPr userDrawn="1"/>
          </p:nvSpPr>
          <p:spPr>
            <a:xfrm>
              <a:off x="6181705" y="3852418"/>
              <a:ext cx="14197" cy="14197"/>
            </a:xfrm>
            <a:custGeom>
              <a:avLst/>
              <a:gdLst>
                <a:gd name="connsiteX0" fmla="*/ 1267 w 0"/>
                <a:gd name="connsiteY0" fmla="*/ 15933 h 14197"/>
                <a:gd name="connsiteX1" fmla="*/ 8366 w 0"/>
                <a:gd name="connsiteY1" fmla="*/ 20193 h 14197"/>
                <a:gd name="connsiteX2" fmla="*/ 4107 w 0"/>
                <a:gd name="connsiteY2" fmla="*/ 317 h 14197"/>
                <a:gd name="connsiteX3" fmla="*/ 1267 w 0"/>
                <a:gd name="connsiteY3" fmla="*/ 15933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1267" y="15933"/>
                  </a:moveTo>
                  <a:cubicBezTo>
                    <a:pt x="1267" y="15933"/>
                    <a:pt x="5526" y="24452"/>
                    <a:pt x="8366" y="20193"/>
                  </a:cubicBezTo>
                  <a:cubicBezTo>
                    <a:pt x="12625" y="14514"/>
                    <a:pt x="12625" y="-2523"/>
                    <a:pt x="4107" y="317"/>
                  </a:cubicBezTo>
                  <a:cubicBezTo>
                    <a:pt x="-2992" y="3156"/>
                    <a:pt x="1267" y="15933"/>
                    <a:pt x="1267" y="15933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9" name="任意多边形: 形状 10028">
              <a:extLst>
                <a:ext uri="{FF2B5EF4-FFF2-40B4-BE49-F238E27FC236}">
                  <a16:creationId xmlns:a16="http://schemas.microsoft.com/office/drawing/2014/main" id="{C6BF561F-347F-483A-BB44-3863C8EA5547}"/>
                </a:ext>
              </a:extLst>
            </p:cNvPr>
            <p:cNvSpPr/>
            <p:nvPr userDrawn="1"/>
          </p:nvSpPr>
          <p:spPr>
            <a:xfrm>
              <a:off x="6191643" y="3835438"/>
              <a:ext cx="14197" cy="14197"/>
            </a:xfrm>
            <a:custGeom>
              <a:avLst/>
              <a:gdLst>
                <a:gd name="connsiteX0" fmla="*/ 1267 w 0"/>
                <a:gd name="connsiteY0" fmla="*/ 15876 h 14197"/>
                <a:gd name="connsiteX1" fmla="*/ 8366 w 0"/>
                <a:gd name="connsiteY1" fmla="*/ 22975 h 14197"/>
                <a:gd name="connsiteX2" fmla="*/ 4107 w 0"/>
                <a:gd name="connsiteY2" fmla="*/ 260 h 14197"/>
                <a:gd name="connsiteX3" fmla="*/ 1267 w 0"/>
                <a:gd name="connsiteY3" fmla="*/ 1587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1267" y="15876"/>
                  </a:moveTo>
                  <a:cubicBezTo>
                    <a:pt x="1267" y="15876"/>
                    <a:pt x="4107" y="27234"/>
                    <a:pt x="8366" y="22975"/>
                  </a:cubicBezTo>
                  <a:cubicBezTo>
                    <a:pt x="12625" y="18716"/>
                    <a:pt x="12625" y="-2580"/>
                    <a:pt x="4107" y="260"/>
                  </a:cubicBezTo>
                  <a:cubicBezTo>
                    <a:pt x="-2992" y="3099"/>
                    <a:pt x="1267" y="15876"/>
                    <a:pt x="1267" y="15876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0" name="任意多边形: 形状 10029">
              <a:extLst>
                <a:ext uri="{FF2B5EF4-FFF2-40B4-BE49-F238E27FC236}">
                  <a16:creationId xmlns:a16="http://schemas.microsoft.com/office/drawing/2014/main" id="{15515A12-3288-41F5-A7D5-AC3EA0795D13}"/>
                </a:ext>
              </a:extLst>
            </p:cNvPr>
            <p:cNvSpPr/>
            <p:nvPr userDrawn="1"/>
          </p:nvSpPr>
          <p:spPr>
            <a:xfrm>
              <a:off x="6073512" y="3945708"/>
              <a:ext cx="269743" cy="298137"/>
            </a:xfrm>
            <a:custGeom>
              <a:avLst/>
              <a:gdLst>
                <a:gd name="connsiteX0" fmla="*/ 278405 w 269743"/>
                <a:gd name="connsiteY0" fmla="*/ 19183 h 298137"/>
                <a:gd name="connsiteX1" fmla="*/ 265627 w 269743"/>
                <a:gd name="connsiteY1" fmla="*/ 64614 h 298137"/>
                <a:gd name="connsiteX2" fmla="*/ 230135 w 269743"/>
                <a:gd name="connsiteY2" fmla="*/ 193807 h 298137"/>
                <a:gd name="connsiteX3" fmla="*/ 201741 w 269743"/>
                <a:gd name="connsiteY3" fmla="*/ 216522 h 298137"/>
                <a:gd name="connsiteX4" fmla="*/ 73968 w 269743"/>
                <a:gd name="connsiteY4" fmla="*/ 304544 h 298137"/>
                <a:gd name="connsiteX5" fmla="*/ 143 w 269743"/>
                <a:gd name="connsiteY5" fmla="*/ 270471 h 298137"/>
                <a:gd name="connsiteX6" fmla="*/ 88165 w 269743"/>
                <a:gd name="connsiteY6" fmla="*/ 2147 h 298137"/>
                <a:gd name="connsiteX7" fmla="*/ 146372 w 269743"/>
                <a:gd name="connsiteY7" fmla="*/ 7826 h 298137"/>
                <a:gd name="connsiteX8" fmla="*/ 99522 w 269743"/>
                <a:gd name="connsiteY8" fmla="*/ 190967 h 298137"/>
                <a:gd name="connsiteX9" fmla="*/ 159150 w 269743"/>
                <a:gd name="connsiteY9" fmla="*/ 129920 h 298137"/>
                <a:gd name="connsiteX10" fmla="*/ 230135 w 269743"/>
                <a:gd name="connsiteY10" fmla="*/ 57515 h 298137"/>
                <a:gd name="connsiteX11" fmla="*/ 271306 w 269743"/>
                <a:gd name="connsiteY11" fmla="*/ 22023 h 298137"/>
                <a:gd name="connsiteX12" fmla="*/ 278405 w 269743"/>
                <a:gd name="connsiteY12" fmla="*/ 19183 h 29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9743" h="298137">
                  <a:moveTo>
                    <a:pt x="278405" y="19183"/>
                  </a:moveTo>
                  <a:lnTo>
                    <a:pt x="265627" y="64614"/>
                  </a:lnTo>
                  <a:lnTo>
                    <a:pt x="230135" y="193807"/>
                  </a:lnTo>
                  <a:cubicBezTo>
                    <a:pt x="230135" y="193807"/>
                    <a:pt x="218777" y="203745"/>
                    <a:pt x="201741" y="216522"/>
                  </a:cubicBezTo>
                  <a:cubicBezTo>
                    <a:pt x="164828" y="246336"/>
                    <a:pt x="83905" y="300284"/>
                    <a:pt x="73968" y="304544"/>
                  </a:cubicBezTo>
                  <a:cubicBezTo>
                    <a:pt x="62610" y="308803"/>
                    <a:pt x="4402" y="310222"/>
                    <a:pt x="143" y="270471"/>
                  </a:cubicBezTo>
                  <a:cubicBezTo>
                    <a:pt x="-4116" y="230719"/>
                    <a:pt x="88165" y="2147"/>
                    <a:pt x="88165" y="2147"/>
                  </a:cubicBezTo>
                  <a:cubicBezTo>
                    <a:pt x="116559" y="-4952"/>
                    <a:pt x="146372" y="7826"/>
                    <a:pt x="146372" y="7826"/>
                  </a:cubicBezTo>
                  <a:lnTo>
                    <a:pt x="99522" y="190967"/>
                  </a:lnTo>
                  <a:cubicBezTo>
                    <a:pt x="99522" y="190967"/>
                    <a:pt x="132175" y="169672"/>
                    <a:pt x="159150" y="129920"/>
                  </a:cubicBezTo>
                  <a:cubicBezTo>
                    <a:pt x="173347" y="110044"/>
                    <a:pt x="203160" y="80231"/>
                    <a:pt x="230135" y="57515"/>
                  </a:cubicBezTo>
                  <a:cubicBezTo>
                    <a:pt x="248591" y="41899"/>
                    <a:pt x="264208" y="29121"/>
                    <a:pt x="271306" y="22023"/>
                  </a:cubicBezTo>
                  <a:cubicBezTo>
                    <a:pt x="276985" y="20603"/>
                    <a:pt x="278405" y="19183"/>
                    <a:pt x="278405" y="19183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1" name="任意多边形: 形状 10030">
              <a:extLst>
                <a:ext uri="{FF2B5EF4-FFF2-40B4-BE49-F238E27FC236}">
                  <a16:creationId xmlns:a16="http://schemas.microsoft.com/office/drawing/2014/main" id="{F009ECA0-25F7-4381-9BB2-7D06BF976CB0}"/>
                </a:ext>
              </a:extLst>
            </p:cNvPr>
            <p:cNvSpPr/>
            <p:nvPr userDrawn="1"/>
          </p:nvSpPr>
          <p:spPr>
            <a:xfrm>
              <a:off x="6193003" y="3688049"/>
              <a:ext cx="170364" cy="354926"/>
            </a:xfrm>
            <a:custGeom>
              <a:avLst/>
              <a:gdLst>
                <a:gd name="connsiteX0" fmla="*/ 55275 w 170364"/>
                <a:gd name="connsiteY0" fmla="*/ 0 h 354925"/>
                <a:gd name="connsiteX1" fmla="*/ 1327 w 170364"/>
                <a:gd name="connsiteY1" fmla="*/ 100799 h 354925"/>
                <a:gd name="connsiteX2" fmla="*/ 92188 w 170364"/>
                <a:gd name="connsiteY2" fmla="*/ 275422 h 354925"/>
                <a:gd name="connsiteX3" fmla="*/ 72312 w 170364"/>
                <a:gd name="connsiteY3" fmla="*/ 354926 h 354925"/>
                <a:gd name="connsiteX4" fmla="*/ 173111 w 170364"/>
                <a:gd name="connsiteY4" fmla="*/ 265484 h 354925"/>
                <a:gd name="connsiteX5" fmla="*/ 55275 w 170364"/>
                <a:gd name="connsiteY5" fmla="*/ 0 h 35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0364" h="354925">
                  <a:moveTo>
                    <a:pt x="55275" y="0"/>
                  </a:moveTo>
                  <a:cubicBezTo>
                    <a:pt x="55275" y="0"/>
                    <a:pt x="-10031" y="41171"/>
                    <a:pt x="1327" y="100799"/>
                  </a:cubicBezTo>
                  <a:cubicBezTo>
                    <a:pt x="19783" y="191660"/>
                    <a:pt x="86509" y="217214"/>
                    <a:pt x="92188" y="275422"/>
                  </a:cubicBezTo>
                  <a:cubicBezTo>
                    <a:pt x="97866" y="333630"/>
                    <a:pt x="72312" y="354926"/>
                    <a:pt x="72312" y="354926"/>
                  </a:cubicBezTo>
                  <a:lnTo>
                    <a:pt x="173111" y="265484"/>
                  </a:lnTo>
                  <a:lnTo>
                    <a:pt x="55275" y="0"/>
                  </a:ln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2" name="任意多边形: 形状 10031">
              <a:extLst>
                <a:ext uri="{FF2B5EF4-FFF2-40B4-BE49-F238E27FC236}">
                  <a16:creationId xmlns:a16="http://schemas.microsoft.com/office/drawing/2014/main" id="{675F583F-1CED-469B-9FF5-7FFF147421F5}"/>
                </a:ext>
              </a:extLst>
            </p:cNvPr>
            <p:cNvSpPr/>
            <p:nvPr userDrawn="1"/>
          </p:nvSpPr>
          <p:spPr>
            <a:xfrm>
              <a:off x="6334880" y="3847013"/>
              <a:ext cx="113576" cy="255546"/>
            </a:xfrm>
            <a:custGeom>
              <a:avLst/>
              <a:gdLst>
                <a:gd name="connsiteX0" fmla="*/ 119255 w 113576"/>
                <a:gd name="connsiteY0" fmla="*/ 90904 h 255546"/>
                <a:gd name="connsiteX1" fmla="*/ 41171 w 113576"/>
                <a:gd name="connsiteY1" fmla="*/ 261268 h 255546"/>
                <a:gd name="connsiteX2" fmla="*/ 11358 w 113576"/>
                <a:gd name="connsiteY2" fmla="*/ 146272 h 255546"/>
                <a:gd name="connsiteX3" fmla="*/ 14197 w 113576"/>
                <a:gd name="connsiteY3" fmla="*/ 126396 h 255546"/>
                <a:gd name="connsiteX4" fmla="*/ 2839 w 113576"/>
                <a:gd name="connsiteY4" fmla="*/ 83805 h 255546"/>
                <a:gd name="connsiteX5" fmla="*/ 0 w 113576"/>
                <a:gd name="connsiteY5" fmla="*/ 76707 h 255546"/>
                <a:gd name="connsiteX6" fmla="*/ 75244 w 113576"/>
                <a:gd name="connsiteY6" fmla="*/ 18499 h 255546"/>
                <a:gd name="connsiteX7" fmla="*/ 119255 w 113576"/>
                <a:gd name="connsiteY7" fmla="*/ 90904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76" h="255546">
                  <a:moveTo>
                    <a:pt x="119255" y="90904"/>
                  </a:moveTo>
                  <a:cubicBezTo>
                    <a:pt x="110737" y="183184"/>
                    <a:pt x="61047" y="251330"/>
                    <a:pt x="41171" y="261268"/>
                  </a:cubicBezTo>
                  <a:cubicBezTo>
                    <a:pt x="21296" y="271206"/>
                    <a:pt x="0" y="164728"/>
                    <a:pt x="11358" y="146272"/>
                  </a:cubicBezTo>
                  <a:cubicBezTo>
                    <a:pt x="14197" y="140593"/>
                    <a:pt x="14197" y="133495"/>
                    <a:pt x="14197" y="126396"/>
                  </a:cubicBezTo>
                  <a:cubicBezTo>
                    <a:pt x="12777" y="110780"/>
                    <a:pt x="5679" y="93743"/>
                    <a:pt x="2839" y="83805"/>
                  </a:cubicBezTo>
                  <a:cubicBezTo>
                    <a:pt x="1420" y="79546"/>
                    <a:pt x="0" y="76707"/>
                    <a:pt x="0" y="76707"/>
                  </a:cubicBezTo>
                  <a:cubicBezTo>
                    <a:pt x="0" y="76707"/>
                    <a:pt x="62467" y="-45388"/>
                    <a:pt x="75244" y="18499"/>
                  </a:cubicBezTo>
                  <a:cubicBezTo>
                    <a:pt x="88021" y="82385"/>
                    <a:pt x="119255" y="90904"/>
                    <a:pt x="119255" y="90904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3" name="任意多边形: 形状 10032">
              <a:extLst>
                <a:ext uri="{FF2B5EF4-FFF2-40B4-BE49-F238E27FC236}">
                  <a16:creationId xmlns:a16="http://schemas.microsoft.com/office/drawing/2014/main" id="{3C7B76B7-283B-4557-9552-ABCF9D023AE6}"/>
                </a:ext>
              </a:extLst>
            </p:cNvPr>
            <p:cNvSpPr/>
            <p:nvPr userDrawn="1"/>
          </p:nvSpPr>
          <p:spPr>
            <a:xfrm>
              <a:off x="6336300" y="3903844"/>
              <a:ext cx="56788" cy="56788"/>
            </a:xfrm>
            <a:custGeom>
              <a:avLst/>
              <a:gdLst>
                <a:gd name="connsiteX0" fmla="*/ 56788 w 56788"/>
                <a:gd name="connsiteY0" fmla="*/ 0 h 56788"/>
                <a:gd name="connsiteX1" fmla="*/ 11358 w 56788"/>
                <a:gd name="connsiteY1" fmla="*/ 68146 h 56788"/>
                <a:gd name="connsiteX2" fmla="*/ 0 w 56788"/>
                <a:gd name="connsiteY2" fmla="*/ 25555 h 56788"/>
                <a:gd name="connsiteX3" fmla="*/ 56788 w 56788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788" h="56788">
                  <a:moveTo>
                    <a:pt x="56788" y="0"/>
                  </a:moveTo>
                  <a:cubicBezTo>
                    <a:pt x="56788" y="1420"/>
                    <a:pt x="41171" y="49690"/>
                    <a:pt x="11358" y="68146"/>
                  </a:cubicBezTo>
                  <a:cubicBezTo>
                    <a:pt x="9938" y="52529"/>
                    <a:pt x="2840" y="35493"/>
                    <a:pt x="0" y="25555"/>
                  </a:cubicBezTo>
                  <a:lnTo>
                    <a:pt x="56788" y="0"/>
                  </a:lnTo>
                  <a:close/>
                </a:path>
              </a:pathLst>
            </a:custGeom>
            <a:solidFill>
              <a:srgbClr val="C48A6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4" name="任意多边形: 形状 10033">
              <a:extLst>
                <a:ext uri="{FF2B5EF4-FFF2-40B4-BE49-F238E27FC236}">
                  <a16:creationId xmlns:a16="http://schemas.microsoft.com/office/drawing/2014/main" id="{7EFAD33B-A2F2-4D1B-82D2-8006F7E88F86}"/>
                </a:ext>
              </a:extLst>
            </p:cNvPr>
            <p:cNvSpPr/>
            <p:nvPr userDrawn="1"/>
          </p:nvSpPr>
          <p:spPr>
            <a:xfrm>
              <a:off x="6218465" y="3692308"/>
              <a:ext cx="184561" cy="255546"/>
            </a:xfrm>
            <a:custGeom>
              <a:avLst/>
              <a:gdLst>
                <a:gd name="connsiteX0" fmla="*/ 0 w 184561"/>
                <a:gd name="connsiteY0" fmla="*/ 26974 h 255546"/>
                <a:gd name="connsiteX1" fmla="*/ 44011 w 184561"/>
                <a:gd name="connsiteY1" fmla="*/ 205857 h 255546"/>
                <a:gd name="connsiteX2" fmla="*/ 168944 w 184561"/>
                <a:gd name="connsiteY2" fmla="*/ 221474 h 255546"/>
                <a:gd name="connsiteX3" fmla="*/ 149069 w 184561"/>
                <a:gd name="connsiteY3" fmla="*/ 0 h 255546"/>
                <a:gd name="connsiteX4" fmla="*/ 0 w 184561"/>
                <a:gd name="connsiteY4" fmla="*/ 26974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561" h="255546">
                  <a:moveTo>
                    <a:pt x="0" y="26974"/>
                  </a:moveTo>
                  <a:cubicBezTo>
                    <a:pt x="0" y="26974"/>
                    <a:pt x="7099" y="150488"/>
                    <a:pt x="44011" y="205857"/>
                  </a:cubicBezTo>
                  <a:cubicBezTo>
                    <a:pt x="103638" y="293878"/>
                    <a:pt x="130613" y="264065"/>
                    <a:pt x="168944" y="221474"/>
                  </a:cubicBezTo>
                  <a:cubicBezTo>
                    <a:pt x="222893" y="159007"/>
                    <a:pt x="149069" y="0"/>
                    <a:pt x="149069" y="0"/>
                  </a:cubicBezTo>
                  <a:lnTo>
                    <a:pt x="0" y="26974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5" name="任意多边形: 形状 10034">
              <a:extLst>
                <a:ext uri="{FF2B5EF4-FFF2-40B4-BE49-F238E27FC236}">
                  <a16:creationId xmlns:a16="http://schemas.microsoft.com/office/drawing/2014/main" id="{49C35534-B912-472D-A750-BEA28994BC78}"/>
                </a:ext>
              </a:extLst>
            </p:cNvPr>
            <p:cNvSpPr/>
            <p:nvPr userDrawn="1"/>
          </p:nvSpPr>
          <p:spPr>
            <a:xfrm>
              <a:off x="6199907" y="3665899"/>
              <a:ext cx="212955" cy="227152"/>
            </a:xfrm>
            <a:custGeom>
              <a:avLst/>
              <a:gdLst>
                <a:gd name="connsiteX0" fmla="*/ 15718 w 212955"/>
                <a:gd name="connsiteY0" fmla="*/ 152763 h 227152"/>
                <a:gd name="connsiteX1" fmla="*/ 110839 w 212955"/>
                <a:gd name="connsiteY1" fmla="*/ 128628 h 227152"/>
                <a:gd name="connsiteX2" fmla="*/ 203119 w 212955"/>
                <a:gd name="connsiteY2" fmla="*/ 228007 h 227152"/>
                <a:gd name="connsiteX3" fmla="*/ 193181 w 212955"/>
                <a:gd name="connsiteY3" fmla="*/ 53384 h 227152"/>
                <a:gd name="connsiteX4" fmla="*/ 54051 w 212955"/>
                <a:gd name="connsiteY4" fmla="*/ 13632 h 227152"/>
                <a:gd name="connsiteX5" fmla="*/ 15718 w 212955"/>
                <a:gd name="connsiteY5" fmla="*/ 152763 h 227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955" h="227152">
                  <a:moveTo>
                    <a:pt x="15718" y="152763"/>
                  </a:moveTo>
                  <a:cubicBezTo>
                    <a:pt x="15718" y="152763"/>
                    <a:pt x="55470" y="162701"/>
                    <a:pt x="110839" y="128628"/>
                  </a:cubicBezTo>
                  <a:cubicBezTo>
                    <a:pt x="166207" y="94555"/>
                    <a:pt x="188922" y="223748"/>
                    <a:pt x="203119" y="228007"/>
                  </a:cubicBezTo>
                  <a:cubicBezTo>
                    <a:pt x="215896" y="230846"/>
                    <a:pt x="224415" y="87456"/>
                    <a:pt x="193181" y="53384"/>
                  </a:cubicBezTo>
                  <a:cubicBezTo>
                    <a:pt x="163368" y="19311"/>
                    <a:pt x="107999" y="-21861"/>
                    <a:pt x="54051" y="13632"/>
                  </a:cubicBezTo>
                  <a:cubicBezTo>
                    <a:pt x="-4157" y="49124"/>
                    <a:pt x="-12676" y="100234"/>
                    <a:pt x="15718" y="152763"/>
                  </a:cubicBez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6" name="任意多边形: 形状 10035">
              <a:extLst>
                <a:ext uri="{FF2B5EF4-FFF2-40B4-BE49-F238E27FC236}">
                  <a16:creationId xmlns:a16="http://schemas.microsoft.com/office/drawing/2014/main" id="{1303ED06-7305-4608-B16C-08F1B7FD63E3}"/>
                </a:ext>
              </a:extLst>
            </p:cNvPr>
            <p:cNvSpPr/>
            <p:nvPr userDrawn="1"/>
          </p:nvSpPr>
          <p:spPr>
            <a:xfrm>
              <a:off x="6230750" y="3660956"/>
              <a:ext cx="298137" cy="298137"/>
            </a:xfrm>
            <a:custGeom>
              <a:avLst/>
              <a:gdLst>
                <a:gd name="connsiteX0" fmla="*/ 492 w 298137"/>
                <a:gd name="connsiteY0" fmla="*/ 37031 h 298137"/>
                <a:gd name="connsiteX1" fmla="*/ 81415 w 298137"/>
                <a:gd name="connsiteY1" fmla="*/ 118 h 298137"/>
                <a:gd name="connsiteX2" fmla="*/ 209188 w 298137"/>
                <a:gd name="connsiteY2" fmla="*/ 140669 h 298137"/>
                <a:gd name="connsiteX3" fmla="*/ 301468 w 298137"/>
                <a:gd name="connsiteY3" fmla="*/ 296836 h 298137"/>
                <a:gd name="connsiteX4" fmla="*/ 179374 w 298137"/>
                <a:gd name="connsiteY4" fmla="*/ 248566 h 298137"/>
                <a:gd name="connsiteX5" fmla="*/ 135363 w 298137"/>
                <a:gd name="connsiteY5" fmla="*/ 163384 h 298137"/>
                <a:gd name="connsiteX6" fmla="*/ 33145 w 298137"/>
                <a:gd name="connsiteY6" fmla="*/ 61166 h 298137"/>
                <a:gd name="connsiteX7" fmla="*/ 492 w 298137"/>
                <a:gd name="connsiteY7" fmla="*/ 37031 h 29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137" h="298137">
                  <a:moveTo>
                    <a:pt x="492" y="37031"/>
                  </a:moveTo>
                  <a:cubicBezTo>
                    <a:pt x="492" y="37031"/>
                    <a:pt x="20367" y="2958"/>
                    <a:pt x="81415" y="118"/>
                  </a:cubicBezTo>
                  <a:cubicBezTo>
                    <a:pt x="128265" y="-2721"/>
                    <a:pt x="200670" y="45549"/>
                    <a:pt x="209188" y="140669"/>
                  </a:cubicBezTo>
                  <a:cubicBezTo>
                    <a:pt x="219126" y="262763"/>
                    <a:pt x="275914" y="285479"/>
                    <a:pt x="301468" y="296836"/>
                  </a:cubicBezTo>
                  <a:cubicBezTo>
                    <a:pt x="327023" y="308194"/>
                    <a:pt x="213447" y="301095"/>
                    <a:pt x="179374" y="248566"/>
                  </a:cubicBezTo>
                  <a:cubicBezTo>
                    <a:pt x="163757" y="224431"/>
                    <a:pt x="142462" y="188939"/>
                    <a:pt x="135363" y="163384"/>
                  </a:cubicBezTo>
                  <a:cubicBezTo>
                    <a:pt x="128265" y="137830"/>
                    <a:pt x="72896" y="42709"/>
                    <a:pt x="33145" y="61166"/>
                  </a:cubicBezTo>
                  <a:cubicBezTo>
                    <a:pt x="-6607" y="79622"/>
                    <a:pt x="492" y="37031"/>
                    <a:pt x="492" y="37031"/>
                  </a:cubicBez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7" name="任意多边形: 形状 10036">
              <a:extLst>
                <a:ext uri="{FF2B5EF4-FFF2-40B4-BE49-F238E27FC236}">
                  <a16:creationId xmlns:a16="http://schemas.microsoft.com/office/drawing/2014/main" id="{92E5CC88-227D-499F-88AC-4EA1DB027E0B}"/>
                </a:ext>
              </a:extLst>
            </p:cNvPr>
            <p:cNvSpPr/>
            <p:nvPr userDrawn="1"/>
          </p:nvSpPr>
          <p:spPr>
            <a:xfrm>
              <a:off x="6355320" y="3804242"/>
              <a:ext cx="28394" cy="42591"/>
            </a:xfrm>
            <a:custGeom>
              <a:avLst/>
              <a:gdLst>
                <a:gd name="connsiteX0" fmla="*/ 856 w 28394"/>
                <a:gd name="connsiteY0" fmla="*/ 24358 h 42591"/>
                <a:gd name="connsiteX1" fmla="*/ 27830 w 28394"/>
                <a:gd name="connsiteY1" fmla="*/ 4482 h 42591"/>
                <a:gd name="connsiteX2" fmla="*/ 19312 w 28394"/>
                <a:gd name="connsiteY2" fmla="*/ 54172 h 42591"/>
                <a:gd name="connsiteX3" fmla="*/ 856 w 28394"/>
                <a:gd name="connsiteY3" fmla="*/ 24358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42591">
                  <a:moveTo>
                    <a:pt x="856" y="24358"/>
                  </a:moveTo>
                  <a:cubicBezTo>
                    <a:pt x="-4823" y="8741"/>
                    <a:pt x="19312" y="-8295"/>
                    <a:pt x="27830" y="4482"/>
                  </a:cubicBezTo>
                  <a:cubicBezTo>
                    <a:pt x="36348" y="15840"/>
                    <a:pt x="33509" y="58431"/>
                    <a:pt x="19312" y="54172"/>
                  </a:cubicBezTo>
                  <a:cubicBezTo>
                    <a:pt x="5115" y="48493"/>
                    <a:pt x="856" y="24358"/>
                    <a:pt x="856" y="24358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8" name="任意多边形: 形状 10037">
              <a:extLst>
                <a:ext uri="{FF2B5EF4-FFF2-40B4-BE49-F238E27FC236}">
                  <a16:creationId xmlns:a16="http://schemas.microsoft.com/office/drawing/2014/main" id="{6C2FAE13-F237-4E04-89CD-A5A7B0AE1A86}"/>
                </a:ext>
              </a:extLst>
            </p:cNvPr>
            <p:cNvSpPr/>
            <p:nvPr userDrawn="1"/>
          </p:nvSpPr>
          <p:spPr>
            <a:xfrm>
              <a:off x="6276938" y="3969150"/>
              <a:ext cx="70985" cy="695654"/>
            </a:xfrm>
            <a:custGeom>
              <a:avLst/>
              <a:gdLst>
                <a:gd name="connsiteX0" fmla="*/ 70719 w 70985"/>
                <a:gd name="connsiteY0" fmla="*/ 0 h 695654"/>
                <a:gd name="connsiteX1" fmla="*/ 69299 w 70985"/>
                <a:gd name="connsiteY1" fmla="*/ 39752 h 695654"/>
                <a:gd name="connsiteX2" fmla="*/ 45164 w 70985"/>
                <a:gd name="connsiteY2" fmla="*/ 184561 h 695654"/>
                <a:gd name="connsiteX3" fmla="*/ 35226 w 70985"/>
                <a:gd name="connsiteY3" fmla="*/ 657322 h 695654"/>
                <a:gd name="connsiteX4" fmla="*/ 9672 w 70985"/>
                <a:gd name="connsiteY4" fmla="*/ 701333 h 695654"/>
                <a:gd name="connsiteX5" fmla="*/ 16770 w 70985"/>
                <a:gd name="connsiteY5" fmla="*/ 296718 h 695654"/>
                <a:gd name="connsiteX6" fmla="*/ 1154 w 70985"/>
                <a:gd name="connsiteY6" fmla="*/ 195919 h 695654"/>
                <a:gd name="connsiteX7" fmla="*/ 22449 w 70985"/>
                <a:gd name="connsiteY7" fmla="*/ 46850 h 695654"/>
                <a:gd name="connsiteX8" fmla="*/ 70719 w 70985"/>
                <a:gd name="connsiteY8" fmla="*/ 0 h 695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985" h="695654">
                  <a:moveTo>
                    <a:pt x="70719" y="0"/>
                  </a:moveTo>
                  <a:cubicBezTo>
                    <a:pt x="70719" y="0"/>
                    <a:pt x="73558" y="14197"/>
                    <a:pt x="69299" y="39752"/>
                  </a:cubicBezTo>
                  <a:cubicBezTo>
                    <a:pt x="62201" y="79503"/>
                    <a:pt x="46584" y="140551"/>
                    <a:pt x="45164" y="184561"/>
                  </a:cubicBezTo>
                  <a:cubicBezTo>
                    <a:pt x="42325" y="256966"/>
                    <a:pt x="84916" y="380480"/>
                    <a:pt x="35226" y="657322"/>
                  </a:cubicBezTo>
                  <a:cubicBezTo>
                    <a:pt x="26708" y="671519"/>
                    <a:pt x="18190" y="685716"/>
                    <a:pt x="9672" y="701333"/>
                  </a:cubicBezTo>
                  <a:cubicBezTo>
                    <a:pt x="9672" y="698493"/>
                    <a:pt x="46584" y="376221"/>
                    <a:pt x="16770" y="296718"/>
                  </a:cubicBezTo>
                  <a:cubicBezTo>
                    <a:pt x="-266" y="252707"/>
                    <a:pt x="-1686" y="254127"/>
                    <a:pt x="1154" y="195919"/>
                  </a:cubicBezTo>
                  <a:cubicBezTo>
                    <a:pt x="2573" y="150488"/>
                    <a:pt x="3993" y="107897"/>
                    <a:pt x="22449" y="46850"/>
                  </a:cubicBezTo>
                  <a:cubicBezTo>
                    <a:pt x="39485" y="28394"/>
                    <a:pt x="63620" y="5679"/>
                    <a:pt x="70719" y="0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9" name="任意多边形: 形状 10038">
              <a:extLst>
                <a:ext uri="{FF2B5EF4-FFF2-40B4-BE49-F238E27FC236}">
                  <a16:creationId xmlns:a16="http://schemas.microsoft.com/office/drawing/2014/main" id="{A56FB0E9-4324-40EB-B17A-A2BFB2B6A2EE}"/>
                </a:ext>
              </a:extLst>
            </p:cNvPr>
            <p:cNvSpPr/>
            <p:nvPr userDrawn="1"/>
          </p:nvSpPr>
          <p:spPr>
            <a:xfrm>
              <a:off x="6155998" y="4118219"/>
              <a:ext cx="42591" cy="70985"/>
            </a:xfrm>
            <a:custGeom>
              <a:avLst/>
              <a:gdLst>
                <a:gd name="connsiteX0" fmla="*/ 19876 w 42591"/>
                <a:gd name="connsiteY0" fmla="*/ 18456 h 70985"/>
                <a:gd name="connsiteX1" fmla="*/ 0 w 42591"/>
                <a:gd name="connsiteY1" fmla="*/ 79503 h 70985"/>
                <a:gd name="connsiteX2" fmla="*/ 42591 w 42591"/>
                <a:gd name="connsiteY2" fmla="*/ 0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591" h="70985">
                  <a:moveTo>
                    <a:pt x="19876" y="18456"/>
                  </a:moveTo>
                  <a:lnTo>
                    <a:pt x="0" y="79503"/>
                  </a:lnTo>
                  <a:lnTo>
                    <a:pt x="42591" y="0"/>
                  </a:ln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0" name="任意多边形: 形状 10039">
              <a:extLst>
                <a:ext uri="{FF2B5EF4-FFF2-40B4-BE49-F238E27FC236}">
                  <a16:creationId xmlns:a16="http://schemas.microsoft.com/office/drawing/2014/main" id="{A39549E6-9844-4F54-B4E4-DBBE86CDF917}"/>
                </a:ext>
              </a:extLst>
            </p:cNvPr>
            <p:cNvSpPr/>
            <p:nvPr userDrawn="1"/>
          </p:nvSpPr>
          <p:spPr>
            <a:xfrm>
              <a:off x="6466912" y="3493550"/>
              <a:ext cx="269743" cy="241349"/>
            </a:xfrm>
            <a:custGeom>
              <a:avLst/>
              <a:gdLst>
                <a:gd name="connsiteX0" fmla="*/ 278261 w 269743"/>
                <a:gd name="connsiteY0" fmla="*/ 0 h 241349"/>
                <a:gd name="connsiteX1" fmla="*/ 0 w 269743"/>
                <a:gd name="connsiteY1" fmla="*/ 0 h 241349"/>
                <a:gd name="connsiteX2" fmla="*/ 0 w 269743"/>
                <a:gd name="connsiteY2" fmla="*/ 201598 h 241349"/>
                <a:gd name="connsiteX3" fmla="*/ 0 w 269743"/>
                <a:gd name="connsiteY3" fmla="*/ 244189 h 241349"/>
                <a:gd name="connsiteX4" fmla="*/ 42591 w 269743"/>
                <a:gd name="connsiteY4" fmla="*/ 201598 h 241349"/>
                <a:gd name="connsiteX5" fmla="*/ 278261 w 269743"/>
                <a:gd name="connsiteY5" fmla="*/ 201598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9743" h="241349">
                  <a:moveTo>
                    <a:pt x="278261" y="0"/>
                  </a:moveTo>
                  <a:lnTo>
                    <a:pt x="0" y="0"/>
                  </a:lnTo>
                  <a:lnTo>
                    <a:pt x="0" y="201598"/>
                  </a:lnTo>
                  <a:lnTo>
                    <a:pt x="0" y="244189"/>
                  </a:lnTo>
                  <a:lnTo>
                    <a:pt x="42591" y="201598"/>
                  </a:lnTo>
                  <a:lnTo>
                    <a:pt x="278261" y="201598"/>
                  </a:lnTo>
                  <a:close/>
                </a:path>
              </a:pathLst>
            </a:custGeom>
            <a:solidFill>
              <a:srgbClr val="FFFFF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0" name="任意多边形: 形状 10069">
              <a:extLst>
                <a:ext uri="{FF2B5EF4-FFF2-40B4-BE49-F238E27FC236}">
                  <a16:creationId xmlns:a16="http://schemas.microsoft.com/office/drawing/2014/main" id="{2431BA82-C0B9-4B81-9E43-9F88B0F06D68}"/>
                </a:ext>
              </a:extLst>
            </p:cNvPr>
            <p:cNvSpPr/>
            <p:nvPr userDrawn="1"/>
          </p:nvSpPr>
          <p:spPr>
            <a:xfrm>
              <a:off x="8723671" y="5319645"/>
              <a:ext cx="198758" cy="99379"/>
            </a:xfrm>
            <a:custGeom>
              <a:avLst/>
              <a:gdLst>
                <a:gd name="connsiteX0" fmla="*/ 84330 w 198758"/>
                <a:gd name="connsiteY0" fmla="*/ 6740 h 99379"/>
                <a:gd name="connsiteX1" fmla="*/ 152476 w 198758"/>
                <a:gd name="connsiteY1" fmla="*/ 49331 h 99379"/>
                <a:gd name="connsiteX2" fmla="*/ 210684 w 198758"/>
                <a:gd name="connsiteY2" fmla="*/ 86243 h 99379"/>
                <a:gd name="connsiteX3" fmla="*/ 72973 w 198758"/>
                <a:gd name="connsiteY3" fmla="*/ 99021 h 99379"/>
                <a:gd name="connsiteX4" fmla="*/ 1988 w 198758"/>
                <a:gd name="connsiteY4" fmla="*/ 62108 h 99379"/>
                <a:gd name="connsiteX5" fmla="*/ 9086 w 198758"/>
                <a:gd name="connsiteY5" fmla="*/ 1061 h 99379"/>
                <a:gd name="connsiteX6" fmla="*/ 84330 w 198758"/>
                <a:gd name="connsiteY6" fmla="*/ 6740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8758" h="99379">
                  <a:moveTo>
                    <a:pt x="84330" y="6740"/>
                  </a:moveTo>
                  <a:cubicBezTo>
                    <a:pt x="84330" y="6740"/>
                    <a:pt x="118403" y="42233"/>
                    <a:pt x="152476" y="49331"/>
                  </a:cubicBezTo>
                  <a:cubicBezTo>
                    <a:pt x="186549" y="56430"/>
                    <a:pt x="210684" y="66367"/>
                    <a:pt x="210684" y="86243"/>
                  </a:cubicBezTo>
                  <a:cubicBezTo>
                    <a:pt x="210684" y="106119"/>
                    <a:pt x="111304" y="120316"/>
                    <a:pt x="72973" y="99021"/>
                  </a:cubicBezTo>
                  <a:cubicBezTo>
                    <a:pt x="14765" y="67787"/>
                    <a:pt x="9086" y="77725"/>
                    <a:pt x="1988" y="62108"/>
                  </a:cubicBezTo>
                  <a:cubicBezTo>
                    <a:pt x="-5111" y="46492"/>
                    <a:pt x="9086" y="5320"/>
                    <a:pt x="9086" y="1061"/>
                  </a:cubicBezTo>
                  <a:cubicBezTo>
                    <a:pt x="9086" y="-3198"/>
                    <a:pt x="84330" y="6740"/>
                    <a:pt x="84330" y="6740"/>
                  </a:cubicBezTo>
                  <a:close/>
                </a:path>
              </a:pathLst>
            </a:custGeom>
            <a:solidFill>
              <a:srgbClr val="555E9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1" name="任意多边形: 形状 10070">
              <a:extLst>
                <a:ext uri="{FF2B5EF4-FFF2-40B4-BE49-F238E27FC236}">
                  <a16:creationId xmlns:a16="http://schemas.microsoft.com/office/drawing/2014/main" id="{24B85199-0349-47EC-9D07-DD57623C0563}"/>
                </a:ext>
              </a:extLst>
            </p:cNvPr>
            <p:cNvSpPr/>
            <p:nvPr userDrawn="1"/>
          </p:nvSpPr>
          <p:spPr>
            <a:xfrm>
              <a:off x="8734157" y="5299411"/>
              <a:ext cx="70985" cy="28394"/>
            </a:xfrm>
            <a:custGeom>
              <a:avLst/>
              <a:gdLst>
                <a:gd name="connsiteX0" fmla="*/ 71005 w 70985"/>
                <a:gd name="connsiteY0" fmla="*/ 9938 h 28394"/>
                <a:gd name="connsiteX1" fmla="*/ 75264 w 70985"/>
                <a:gd name="connsiteY1" fmla="*/ 26974 h 28394"/>
                <a:gd name="connsiteX2" fmla="*/ 19 w 70985"/>
                <a:gd name="connsiteY2" fmla="*/ 22715 h 28394"/>
                <a:gd name="connsiteX3" fmla="*/ 4279 w 70985"/>
                <a:gd name="connsiteY3" fmla="*/ 0 h 28394"/>
                <a:gd name="connsiteX4" fmla="*/ 71005 w 70985"/>
                <a:gd name="connsiteY4" fmla="*/ 9938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28394">
                  <a:moveTo>
                    <a:pt x="71005" y="9938"/>
                  </a:moveTo>
                  <a:cubicBezTo>
                    <a:pt x="71005" y="9938"/>
                    <a:pt x="75264" y="26974"/>
                    <a:pt x="75264" y="26974"/>
                  </a:cubicBezTo>
                  <a:cubicBezTo>
                    <a:pt x="75264" y="26974"/>
                    <a:pt x="-1400" y="35493"/>
                    <a:pt x="19" y="22715"/>
                  </a:cubicBezTo>
                  <a:cubicBezTo>
                    <a:pt x="1439" y="11358"/>
                    <a:pt x="4279" y="0"/>
                    <a:pt x="4279" y="0"/>
                  </a:cubicBezTo>
                  <a:lnTo>
                    <a:pt x="71005" y="9938"/>
                  </a:lnTo>
                  <a:close/>
                </a:path>
              </a:pathLst>
            </a:custGeom>
            <a:solidFill>
              <a:srgbClr val="2F6B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2" name="任意多边形: 形状 10071">
              <a:extLst>
                <a:ext uri="{FF2B5EF4-FFF2-40B4-BE49-F238E27FC236}">
                  <a16:creationId xmlns:a16="http://schemas.microsoft.com/office/drawing/2014/main" id="{E88E0BE3-6A6E-42F2-B2F6-D0B483726696}"/>
                </a:ext>
              </a:extLst>
            </p:cNvPr>
            <p:cNvSpPr/>
            <p:nvPr userDrawn="1"/>
          </p:nvSpPr>
          <p:spPr>
            <a:xfrm>
              <a:off x="8347084" y="5332753"/>
              <a:ext cx="184561" cy="113576"/>
            </a:xfrm>
            <a:custGeom>
              <a:avLst/>
              <a:gdLst>
                <a:gd name="connsiteX0" fmla="*/ 79017 w 184561"/>
                <a:gd name="connsiteY0" fmla="*/ 2150 h 113576"/>
                <a:gd name="connsiteX1" fmla="*/ 137225 w 184561"/>
                <a:gd name="connsiteY1" fmla="*/ 44742 h 113576"/>
                <a:gd name="connsiteX2" fmla="*/ 192594 w 184561"/>
                <a:gd name="connsiteY2" fmla="*/ 87333 h 113576"/>
                <a:gd name="connsiteX3" fmla="*/ 59142 w 184561"/>
                <a:gd name="connsiteY3" fmla="*/ 98690 h 113576"/>
                <a:gd name="connsiteX4" fmla="*/ 2354 w 184561"/>
                <a:gd name="connsiteY4" fmla="*/ 63198 h 113576"/>
                <a:gd name="connsiteX5" fmla="*/ 5193 w 184561"/>
                <a:gd name="connsiteY5" fmla="*/ 3570 h 113576"/>
                <a:gd name="connsiteX6" fmla="*/ 79017 w 184561"/>
                <a:gd name="connsiteY6" fmla="*/ 2150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561" h="113576">
                  <a:moveTo>
                    <a:pt x="79017" y="2150"/>
                  </a:moveTo>
                  <a:cubicBezTo>
                    <a:pt x="79017" y="2150"/>
                    <a:pt x="104572" y="36223"/>
                    <a:pt x="137225" y="44742"/>
                  </a:cubicBezTo>
                  <a:cubicBezTo>
                    <a:pt x="169878" y="53260"/>
                    <a:pt x="191174" y="67457"/>
                    <a:pt x="192594" y="87333"/>
                  </a:cubicBezTo>
                  <a:cubicBezTo>
                    <a:pt x="194013" y="107209"/>
                    <a:pt x="115930" y="132763"/>
                    <a:pt x="59142" y="98690"/>
                  </a:cubicBezTo>
                  <a:cubicBezTo>
                    <a:pt x="22229" y="75975"/>
                    <a:pt x="9452" y="77395"/>
                    <a:pt x="2354" y="63198"/>
                  </a:cubicBezTo>
                  <a:cubicBezTo>
                    <a:pt x="-4745" y="49001"/>
                    <a:pt x="6613" y="7829"/>
                    <a:pt x="5193" y="3570"/>
                  </a:cubicBezTo>
                  <a:cubicBezTo>
                    <a:pt x="5193" y="-3528"/>
                    <a:pt x="79017" y="2150"/>
                    <a:pt x="79017" y="2150"/>
                  </a:cubicBezTo>
                  <a:close/>
                </a:path>
              </a:pathLst>
            </a:custGeom>
            <a:solidFill>
              <a:srgbClr val="555E9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3" name="任意多边形: 形状 10072">
              <a:extLst>
                <a:ext uri="{FF2B5EF4-FFF2-40B4-BE49-F238E27FC236}">
                  <a16:creationId xmlns:a16="http://schemas.microsoft.com/office/drawing/2014/main" id="{BF7127B6-B03E-4B2B-842C-D6F24043E53C}"/>
                </a:ext>
              </a:extLst>
            </p:cNvPr>
            <p:cNvSpPr/>
            <p:nvPr userDrawn="1"/>
          </p:nvSpPr>
          <p:spPr>
            <a:xfrm>
              <a:off x="8353696" y="5310769"/>
              <a:ext cx="70985" cy="28394"/>
            </a:xfrm>
            <a:custGeom>
              <a:avLst/>
              <a:gdLst>
                <a:gd name="connsiteX0" fmla="*/ 72405 w 70985"/>
                <a:gd name="connsiteY0" fmla="*/ 7099 h 28394"/>
                <a:gd name="connsiteX1" fmla="*/ 73825 w 70985"/>
                <a:gd name="connsiteY1" fmla="*/ 24135 h 28394"/>
                <a:gd name="connsiteX2" fmla="*/ 0 w 70985"/>
                <a:gd name="connsiteY2" fmla="*/ 24135 h 28394"/>
                <a:gd name="connsiteX3" fmla="*/ 4259 w 70985"/>
                <a:gd name="connsiteY3" fmla="*/ 0 h 28394"/>
                <a:gd name="connsiteX4" fmla="*/ 72405 w 70985"/>
                <a:gd name="connsiteY4" fmla="*/ 7099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28394">
                  <a:moveTo>
                    <a:pt x="72405" y="7099"/>
                  </a:moveTo>
                  <a:cubicBezTo>
                    <a:pt x="72405" y="7099"/>
                    <a:pt x="73825" y="24135"/>
                    <a:pt x="73825" y="24135"/>
                  </a:cubicBezTo>
                  <a:cubicBezTo>
                    <a:pt x="73825" y="24135"/>
                    <a:pt x="0" y="36912"/>
                    <a:pt x="0" y="24135"/>
                  </a:cubicBezTo>
                  <a:cubicBezTo>
                    <a:pt x="0" y="14197"/>
                    <a:pt x="4259" y="0"/>
                    <a:pt x="4259" y="0"/>
                  </a:cubicBezTo>
                  <a:lnTo>
                    <a:pt x="72405" y="7099"/>
                  </a:lnTo>
                  <a:close/>
                </a:path>
              </a:pathLst>
            </a:custGeom>
            <a:solidFill>
              <a:srgbClr val="2F6B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4" name="任意多边形: 形状 10073">
              <a:extLst>
                <a:ext uri="{FF2B5EF4-FFF2-40B4-BE49-F238E27FC236}">
                  <a16:creationId xmlns:a16="http://schemas.microsoft.com/office/drawing/2014/main" id="{433B2612-4E88-4E02-8ED4-B5D857EE2D27}"/>
                </a:ext>
              </a:extLst>
            </p:cNvPr>
            <p:cNvSpPr/>
            <p:nvPr userDrawn="1"/>
          </p:nvSpPr>
          <p:spPr>
            <a:xfrm>
              <a:off x="8329561" y="4236807"/>
              <a:ext cx="482699" cy="1093171"/>
            </a:xfrm>
            <a:custGeom>
              <a:avLst/>
              <a:gdLst>
                <a:gd name="connsiteX0" fmla="*/ 397517 w 482698"/>
                <a:gd name="connsiteY0" fmla="*/ 73072 h 1093170"/>
                <a:gd name="connsiteX1" fmla="*/ 447206 w 482698"/>
                <a:gd name="connsiteY1" fmla="*/ 418060 h 1093170"/>
                <a:gd name="connsiteX2" fmla="*/ 474181 w 482698"/>
                <a:gd name="connsiteY2" fmla="*/ 656569 h 1093170"/>
                <a:gd name="connsiteX3" fmla="*/ 492637 w 482698"/>
                <a:gd name="connsiteY3" fmla="*/ 1082480 h 1093170"/>
                <a:gd name="connsiteX4" fmla="*/ 388999 w 482698"/>
                <a:gd name="connsiteY4" fmla="*/ 1092418 h 1093170"/>
                <a:gd name="connsiteX5" fmla="*/ 336470 w 482698"/>
                <a:gd name="connsiteY5" fmla="*/ 587004 h 1093170"/>
                <a:gd name="connsiteX6" fmla="*/ 235671 w 482698"/>
                <a:gd name="connsiteY6" fmla="*/ 247695 h 1093170"/>
                <a:gd name="connsiteX7" fmla="*/ 163266 w 482698"/>
                <a:gd name="connsiteY7" fmla="*/ 639533 h 1093170"/>
                <a:gd name="connsiteX8" fmla="*/ 122094 w 482698"/>
                <a:gd name="connsiteY8" fmla="*/ 1099517 h 1093170"/>
                <a:gd name="connsiteX9" fmla="*/ 0 w 482698"/>
                <a:gd name="connsiteY9" fmla="*/ 1099517 h 1093170"/>
                <a:gd name="connsiteX10" fmla="*/ 22715 w 482698"/>
                <a:gd name="connsiteY10" fmla="*/ 638113 h 1093170"/>
                <a:gd name="connsiteX11" fmla="*/ 62467 w 482698"/>
                <a:gd name="connsiteY11" fmla="*/ 30481 h 1093170"/>
                <a:gd name="connsiteX12" fmla="*/ 397517 w 482698"/>
                <a:gd name="connsiteY12" fmla="*/ 73072 h 1093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2698" h="1093170">
                  <a:moveTo>
                    <a:pt x="397517" y="73072"/>
                  </a:moveTo>
                  <a:cubicBezTo>
                    <a:pt x="397517" y="73072"/>
                    <a:pt x="433009" y="331458"/>
                    <a:pt x="447206" y="418060"/>
                  </a:cubicBezTo>
                  <a:cubicBezTo>
                    <a:pt x="464243" y="520278"/>
                    <a:pt x="469921" y="604041"/>
                    <a:pt x="474181" y="656569"/>
                  </a:cubicBezTo>
                  <a:cubicBezTo>
                    <a:pt x="479860" y="723296"/>
                    <a:pt x="488378" y="1062604"/>
                    <a:pt x="492637" y="1082480"/>
                  </a:cubicBezTo>
                  <a:cubicBezTo>
                    <a:pt x="496896" y="1102356"/>
                    <a:pt x="388999" y="1092418"/>
                    <a:pt x="388999" y="1092418"/>
                  </a:cubicBezTo>
                  <a:cubicBezTo>
                    <a:pt x="388999" y="1092418"/>
                    <a:pt x="353506" y="657989"/>
                    <a:pt x="336470" y="587004"/>
                  </a:cubicBezTo>
                  <a:cubicBezTo>
                    <a:pt x="319433" y="521698"/>
                    <a:pt x="258386" y="240597"/>
                    <a:pt x="235671" y="247695"/>
                  </a:cubicBezTo>
                  <a:cubicBezTo>
                    <a:pt x="188821" y="261892"/>
                    <a:pt x="174624" y="588424"/>
                    <a:pt x="163266" y="639533"/>
                  </a:cubicBezTo>
                  <a:cubicBezTo>
                    <a:pt x="151908" y="692062"/>
                    <a:pt x="122094" y="1099517"/>
                    <a:pt x="122094" y="1099517"/>
                  </a:cubicBezTo>
                  <a:cubicBezTo>
                    <a:pt x="122094" y="1099517"/>
                    <a:pt x="21296" y="1115133"/>
                    <a:pt x="0" y="1099517"/>
                  </a:cubicBezTo>
                  <a:cubicBezTo>
                    <a:pt x="0" y="1099517"/>
                    <a:pt x="15617" y="734653"/>
                    <a:pt x="22715" y="638113"/>
                  </a:cubicBezTo>
                  <a:cubicBezTo>
                    <a:pt x="25555" y="601201"/>
                    <a:pt x="-1419" y="193747"/>
                    <a:pt x="62467" y="30481"/>
                  </a:cubicBezTo>
                  <a:cubicBezTo>
                    <a:pt x="96540" y="-57541"/>
                    <a:pt x="397517" y="73072"/>
                    <a:pt x="397517" y="73072"/>
                  </a:cubicBezTo>
                  <a:close/>
                </a:path>
              </a:pathLst>
            </a:custGeom>
            <a:solidFill>
              <a:srgbClr val="2F324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5" name="任意多边形: 形状 10074">
              <a:extLst>
                <a:ext uri="{FF2B5EF4-FFF2-40B4-BE49-F238E27FC236}">
                  <a16:creationId xmlns:a16="http://schemas.microsoft.com/office/drawing/2014/main" id="{E28C9449-DB98-4456-BB05-41345B3E781F}"/>
                </a:ext>
              </a:extLst>
            </p:cNvPr>
            <p:cNvSpPr/>
            <p:nvPr userDrawn="1"/>
          </p:nvSpPr>
          <p:spPr>
            <a:xfrm>
              <a:off x="8640266" y="3673852"/>
              <a:ext cx="354926" cy="425911"/>
            </a:xfrm>
            <a:custGeom>
              <a:avLst/>
              <a:gdLst>
                <a:gd name="connsiteX0" fmla="*/ 352296 w 354925"/>
                <a:gd name="connsiteY0" fmla="*/ 433009 h 425910"/>
                <a:gd name="connsiteX1" fmla="*/ 92491 w 354925"/>
                <a:gd name="connsiteY1" fmla="*/ 379060 h 425910"/>
                <a:gd name="connsiteX2" fmla="*/ 47060 w 354925"/>
                <a:gd name="connsiteY2" fmla="*/ 292459 h 425910"/>
                <a:gd name="connsiteX3" fmla="*/ 35703 w 354925"/>
                <a:gd name="connsiteY3" fmla="*/ 252707 h 425910"/>
                <a:gd name="connsiteX4" fmla="*/ 35703 w 354925"/>
                <a:gd name="connsiteY4" fmla="*/ 252707 h 425910"/>
                <a:gd name="connsiteX5" fmla="*/ 14407 w 354925"/>
                <a:gd name="connsiteY5" fmla="*/ 151908 h 425910"/>
                <a:gd name="connsiteX6" fmla="*/ 49900 w 354925"/>
                <a:gd name="connsiteY6" fmla="*/ 0 h 425910"/>
                <a:gd name="connsiteX7" fmla="*/ 96750 w 354925"/>
                <a:gd name="connsiteY7" fmla="*/ 41171 h 425910"/>
                <a:gd name="connsiteX8" fmla="*/ 137921 w 354925"/>
                <a:gd name="connsiteY8" fmla="*/ 143390 h 425910"/>
                <a:gd name="connsiteX9" fmla="*/ 181932 w 354925"/>
                <a:gd name="connsiteY9" fmla="*/ 302397 h 425910"/>
                <a:gd name="connsiteX10" fmla="*/ 234461 w 354925"/>
                <a:gd name="connsiteY10" fmla="*/ 330791 h 425910"/>
                <a:gd name="connsiteX11" fmla="*/ 365073 w 354925"/>
                <a:gd name="connsiteY11" fmla="*/ 346407 h 425910"/>
                <a:gd name="connsiteX12" fmla="*/ 352296 w 354925"/>
                <a:gd name="connsiteY12" fmla="*/ 433009 h 42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4925" h="425910">
                  <a:moveTo>
                    <a:pt x="352296" y="433009"/>
                  </a:moveTo>
                  <a:cubicBezTo>
                    <a:pt x="352296" y="433009"/>
                    <a:pt x="130822" y="403195"/>
                    <a:pt x="92491" y="379060"/>
                  </a:cubicBezTo>
                  <a:cubicBezTo>
                    <a:pt x="75454" y="367703"/>
                    <a:pt x="59837" y="332210"/>
                    <a:pt x="47060" y="292459"/>
                  </a:cubicBezTo>
                  <a:cubicBezTo>
                    <a:pt x="42801" y="279681"/>
                    <a:pt x="38542" y="265484"/>
                    <a:pt x="35703" y="252707"/>
                  </a:cubicBezTo>
                  <a:cubicBezTo>
                    <a:pt x="35703" y="252707"/>
                    <a:pt x="35703" y="252707"/>
                    <a:pt x="35703" y="252707"/>
                  </a:cubicBezTo>
                  <a:cubicBezTo>
                    <a:pt x="21506" y="200178"/>
                    <a:pt x="14407" y="151908"/>
                    <a:pt x="14407" y="151908"/>
                  </a:cubicBezTo>
                  <a:cubicBezTo>
                    <a:pt x="14407" y="151908"/>
                    <a:pt x="-35283" y="19876"/>
                    <a:pt x="49900" y="0"/>
                  </a:cubicBezTo>
                  <a:cubicBezTo>
                    <a:pt x="49900" y="0"/>
                    <a:pt x="82553" y="8518"/>
                    <a:pt x="96750" y="41171"/>
                  </a:cubicBezTo>
                  <a:cubicBezTo>
                    <a:pt x="110947" y="73825"/>
                    <a:pt x="130822" y="122094"/>
                    <a:pt x="137921" y="143390"/>
                  </a:cubicBezTo>
                  <a:cubicBezTo>
                    <a:pt x="142180" y="157587"/>
                    <a:pt x="179092" y="298137"/>
                    <a:pt x="181932" y="302397"/>
                  </a:cubicBezTo>
                  <a:cubicBezTo>
                    <a:pt x="184771" y="306656"/>
                    <a:pt x="203227" y="322272"/>
                    <a:pt x="234461" y="330791"/>
                  </a:cubicBezTo>
                  <a:cubicBezTo>
                    <a:pt x="284150" y="344988"/>
                    <a:pt x="365073" y="346407"/>
                    <a:pt x="365073" y="346407"/>
                  </a:cubicBezTo>
                  <a:lnTo>
                    <a:pt x="352296" y="433009"/>
                  </a:ln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6" name="任意多边形: 形状 10075">
              <a:extLst>
                <a:ext uri="{FF2B5EF4-FFF2-40B4-BE49-F238E27FC236}">
                  <a16:creationId xmlns:a16="http://schemas.microsoft.com/office/drawing/2014/main" id="{60D058C3-BF93-4048-812C-097186EC3301}"/>
                </a:ext>
              </a:extLst>
            </p:cNvPr>
            <p:cNvSpPr/>
            <p:nvPr userDrawn="1"/>
          </p:nvSpPr>
          <p:spPr>
            <a:xfrm>
              <a:off x="8508899" y="3368377"/>
              <a:ext cx="184561" cy="255546"/>
            </a:xfrm>
            <a:custGeom>
              <a:avLst/>
              <a:gdLst>
                <a:gd name="connsiteX0" fmla="*/ 6643 w 184561"/>
                <a:gd name="connsiteY0" fmla="*/ 160666 h 255546"/>
                <a:gd name="connsiteX1" fmla="*/ 6643 w 184561"/>
                <a:gd name="connsiteY1" fmla="*/ 160666 h 255546"/>
                <a:gd name="connsiteX2" fmla="*/ 25099 w 184561"/>
                <a:gd name="connsiteY2" fmla="*/ 218874 h 255546"/>
                <a:gd name="connsiteX3" fmla="*/ 179847 w 184561"/>
                <a:gd name="connsiteY3" fmla="*/ 163505 h 255546"/>
                <a:gd name="connsiteX4" fmla="*/ 186945 w 184561"/>
                <a:gd name="connsiteY4" fmla="*/ 95360 h 255546"/>
                <a:gd name="connsiteX5" fmla="*/ 140095 w 184561"/>
                <a:gd name="connsiteY5" fmla="*/ 7338 h 255546"/>
                <a:gd name="connsiteX6" fmla="*/ 18001 w 184561"/>
                <a:gd name="connsiteY6" fmla="*/ 30053 h 255546"/>
                <a:gd name="connsiteX7" fmla="*/ 6643 w 184561"/>
                <a:gd name="connsiteY7" fmla="*/ 160666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4561" h="255546">
                  <a:moveTo>
                    <a:pt x="6643" y="160666"/>
                  </a:moveTo>
                  <a:cubicBezTo>
                    <a:pt x="6643" y="160666"/>
                    <a:pt x="6643" y="160666"/>
                    <a:pt x="6643" y="160666"/>
                  </a:cubicBezTo>
                  <a:cubicBezTo>
                    <a:pt x="10902" y="180542"/>
                    <a:pt x="16581" y="200418"/>
                    <a:pt x="25099" y="218874"/>
                  </a:cubicBezTo>
                  <a:cubicBezTo>
                    <a:pt x="52074" y="279921"/>
                    <a:pt x="145774" y="302636"/>
                    <a:pt x="179847" y="163505"/>
                  </a:cubicBezTo>
                  <a:cubicBezTo>
                    <a:pt x="186945" y="136531"/>
                    <a:pt x="188365" y="115235"/>
                    <a:pt x="186945" y="95360"/>
                  </a:cubicBezTo>
                  <a:cubicBezTo>
                    <a:pt x="182686" y="28634"/>
                    <a:pt x="140095" y="7338"/>
                    <a:pt x="140095" y="7338"/>
                  </a:cubicBezTo>
                  <a:cubicBezTo>
                    <a:pt x="107442" y="-2600"/>
                    <a:pt x="47814" y="-8279"/>
                    <a:pt x="18001" y="30053"/>
                  </a:cubicBezTo>
                  <a:cubicBezTo>
                    <a:pt x="-1875" y="57028"/>
                    <a:pt x="-4715" y="110976"/>
                    <a:pt x="6643" y="160666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7" name="任意多边形: 形状 10076">
              <a:extLst>
                <a:ext uri="{FF2B5EF4-FFF2-40B4-BE49-F238E27FC236}">
                  <a16:creationId xmlns:a16="http://schemas.microsoft.com/office/drawing/2014/main" id="{D52C41B0-926D-40AF-9865-D81F6576B68E}"/>
                </a:ext>
              </a:extLst>
            </p:cNvPr>
            <p:cNvSpPr/>
            <p:nvPr userDrawn="1"/>
          </p:nvSpPr>
          <p:spPr>
            <a:xfrm>
              <a:off x="8502428" y="3364176"/>
              <a:ext cx="198758" cy="156167"/>
            </a:xfrm>
            <a:custGeom>
              <a:avLst/>
              <a:gdLst>
                <a:gd name="connsiteX0" fmla="*/ 13115 w 198758"/>
                <a:gd name="connsiteY0" fmla="*/ 164866 h 156167"/>
                <a:gd name="connsiteX1" fmla="*/ 13115 w 198758"/>
                <a:gd name="connsiteY1" fmla="*/ 164866 h 156167"/>
                <a:gd name="connsiteX2" fmla="*/ 42928 w 198758"/>
                <a:gd name="connsiteY2" fmla="*/ 136472 h 156167"/>
                <a:gd name="connsiteX3" fmla="*/ 51447 w 198758"/>
                <a:gd name="connsiteY3" fmla="*/ 133633 h 156167"/>
                <a:gd name="connsiteX4" fmla="*/ 81261 w 198758"/>
                <a:gd name="connsiteY4" fmla="*/ 129374 h 156167"/>
                <a:gd name="connsiteX5" fmla="*/ 103975 w 198758"/>
                <a:gd name="connsiteY5" fmla="*/ 74005 h 156167"/>
                <a:gd name="connsiteX6" fmla="*/ 194837 w 198758"/>
                <a:gd name="connsiteY6" fmla="*/ 99560 h 156167"/>
                <a:gd name="connsiteX7" fmla="*/ 170702 w 198758"/>
                <a:gd name="connsiteY7" fmla="*/ 15798 h 156167"/>
                <a:gd name="connsiteX8" fmla="*/ 13115 w 198758"/>
                <a:gd name="connsiteY8" fmla="*/ 25735 h 156167"/>
                <a:gd name="connsiteX9" fmla="*/ 13115 w 198758"/>
                <a:gd name="connsiteY9" fmla="*/ 164866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758" h="156167">
                  <a:moveTo>
                    <a:pt x="13115" y="164866"/>
                  </a:moveTo>
                  <a:cubicBezTo>
                    <a:pt x="13115" y="164866"/>
                    <a:pt x="13115" y="164866"/>
                    <a:pt x="13115" y="164866"/>
                  </a:cubicBezTo>
                  <a:cubicBezTo>
                    <a:pt x="13115" y="164866"/>
                    <a:pt x="17374" y="167706"/>
                    <a:pt x="42928" y="136472"/>
                  </a:cubicBezTo>
                  <a:cubicBezTo>
                    <a:pt x="48607" y="130793"/>
                    <a:pt x="50027" y="136472"/>
                    <a:pt x="51447" y="133633"/>
                  </a:cubicBezTo>
                  <a:lnTo>
                    <a:pt x="81261" y="129374"/>
                  </a:lnTo>
                  <a:cubicBezTo>
                    <a:pt x="81261" y="129374"/>
                    <a:pt x="65644" y="78264"/>
                    <a:pt x="103975" y="74005"/>
                  </a:cubicBezTo>
                  <a:cubicBezTo>
                    <a:pt x="143727" y="69746"/>
                    <a:pt x="194837" y="99560"/>
                    <a:pt x="194837" y="99560"/>
                  </a:cubicBezTo>
                  <a:cubicBezTo>
                    <a:pt x="218971" y="-1239"/>
                    <a:pt x="170702" y="15798"/>
                    <a:pt x="170702" y="15798"/>
                  </a:cubicBezTo>
                  <a:cubicBezTo>
                    <a:pt x="146567" y="-1239"/>
                    <a:pt x="42928" y="-12596"/>
                    <a:pt x="13115" y="25735"/>
                  </a:cubicBezTo>
                  <a:cubicBezTo>
                    <a:pt x="-9601" y="54130"/>
                    <a:pt x="1757" y="115177"/>
                    <a:pt x="13115" y="164866"/>
                  </a:cubicBezTo>
                  <a:close/>
                </a:path>
              </a:pathLst>
            </a:custGeom>
            <a:solidFill>
              <a:srgbClr val="66524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8" name="任意多边形: 形状 10077">
              <a:extLst>
                <a:ext uri="{FF2B5EF4-FFF2-40B4-BE49-F238E27FC236}">
                  <a16:creationId xmlns:a16="http://schemas.microsoft.com/office/drawing/2014/main" id="{0491FB43-60EF-4207-906E-9E5B169C9846}"/>
                </a:ext>
              </a:extLst>
            </p:cNvPr>
            <p:cNvSpPr/>
            <p:nvPr userDrawn="1"/>
          </p:nvSpPr>
          <p:spPr>
            <a:xfrm>
              <a:off x="8531433" y="3464289"/>
              <a:ext cx="28394" cy="42591"/>
            </a:xfrm>
            <a:custGeom>
              <a:avLst/>
              <a:gdLst>
                <a:gd name="connsiteX0" fmla="*/ 32379 w 28394"/>
                <a:gd name="connsiteY0" fmla="*/ 13644 h 42591"/>
                <a:gd name="connsiteX1" fmla="*/ 3985 w 28394"/>
                <a:gd name="connsiteY1" fmla="*/ 9385 h 42591"/>
                <a:gd name="connsiteX2" fmla="*/ 21021 w 28394"/>
                <a:gd name="connsiteY2" fmla="*/ 51976 h 42591"/>
                <a:gd name="connsiteX3" fmla="*/ 32379 w 28394"/>
                <a:gd name="connsiteY3" fmla="*/ 13644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42591">
                  <a:moveTo>
                    <a:pt x="32379" y="13644"/>
                  </a:moveTo>
                  <a:cubicBezTo>
                    <a:pt x="32379" y="3706"/>
                    <a:pt x="15342" y="-9072"/>
                    <a:pt x="3985" y="9385"/>
                  </a:cubicBezTo>
                  <a:cubicBezTo>
                    <a:pt x="-8793" y="27841"/>
                    <a:pt x="12503" y="54815"/>
                    <a:pt x="21021" y="51976"/>
                  </a:cubicBezTo>
                  <a:cubicBezTo>
                    <a:pt x="28120" y="50556"/>
                    <a:pt x="32379" y="30680"/>
                    <a:pt x="32379" y="13644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9" name="任意多边形: 形状 10078">
              <a:extLst>
                <a:ext uri="{FF2B5EF4-FFF2-40B4-BE49-F238E27FC236}">
                  <a16:creationId xmlns:a16="http://schemas.microsoft.com/office/drawing/2014/main" id="{CECBCC14-8A96-4D63-96E3-71721D1E33FE}"/>
                </a:ext>
              </a:extLst>
            </p:cNvPr>
            <p:cNvSpPr/>
            <p:nvPr userDrawn="1"/>
          </p:nvSpPr>
          <p:spPr>
            <a:xfrm>
              <a:off x="8355116" y="3653963"/>
              <a:ext cx="383320" cy="695654"/>
            </a:xfrm>
            <a:custGeom>
              <a:avLst/>
              <a:gdLst>
                <a:gd name="connsiteX0" fmla="*/ 254127 w 383319"/>
                <a:gd name="connsiteY0" fmla="*/ 13 h 695654"/>
                <a:gd name="connsiteX1" fmla="*/ 344987 w 383319"/>
                <a:gd name="connsiteY1" fmla="*/ 25568 h 695654"/>
                <a:gd name="connsiteX2" fmla="*/ 380480 w 383319"/>
                <a:gd name="connsiteY2" fmla="*/ 161859 h 695654"/>
                <a:gd name="connsiteX3" fmla="*/ 363444 w 383319"/>
                <a:gd name="connsiteY3" fmla="*/ 340741 h 695654"/>
                <a:gd name="connsiteX4" fmla="*/ 386159 w 383319"/>
                <a:gd name="connsiteY4" fmla="*/ 674371 h 695654"/>
                <a:gd name="connsiteX5" fmla="*/ 0 w 383319"/>
                <a:gd name="connsiteY5" fmla="*/ 702765 h 695654"/>
                <a:gd name="connsiteX6" fmla="*/ 41171 w 383319"/>
                <a:gd name="connsiteY6" fmla="*/ 390431 h 695654"/>
                <a:gd name="connsiteX7" fmla="*/ 2839 w 383319"/>
                <a:gd name="connsiteY7" fmla="*/ 157600 h 695654"/>
                <a:gd name="connsiteX8" fmla="*/ 41171 w 383319"/>
                <a:gd name="connsiteY8" fmla="*/ 25568 h 695654"/>
                <a:gd name="connsiteX9" fmla="*/ 154747 w 383319"/>
                <a:gd name="connsiteY9" fmla="*/ 13 h 695654"/>
                <a:gd name="connsiteX10" fmla="*/ 254127 w 383319"/>
                <a:gd name="connsiteY10" fmla="*/ 13 h 695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3319" h="695654">
                  <a:moveTo>
                    <a:pt x="254127" y="13"/>
                  </a:moveTo>
                  <a:cubicBezTo>
                    <a:pt x="254127" y="13"/>
                    <a:pt x="335050" y="17049"/>
                    <a:pt x="344987" y="25568"/>
                  </a:cubicBezTo>
                  <a:cubicBezTo>
                    <a:pt x="356345" y="35505"/>
                    <a:pt x="379060" y="134885"/>
                    <a:pt x="380480" y="161859"/>
                  </a:cubicBezTo>
                  <a:cubicBezTo>
                    <a:pt x="381900" y="188833"/>
                    <a:pt x="374801" y="299570"/>
                    <a:pt x="363444" y="340741"/>
                  </a:cubicBezTo>
                  <a:cubicBezTo>
                    <a:pt x="352086" y="381913"/>
                    <a:pt x="379060" y="616164"/>
                    <a:pt x="386159" y="674371"/>
                  </a:cubicBezTo>
                  <a:cubicBezTo>
                    <a:pt x="386159" y="674371"/>
                    <a:pt x="173203" y="725481"/>
                    <a:pt x="0" y="702765"/>
                  </a:cubicBezTo>
                  <a:cubicBezTo>
                    <a:pt x="0" y="702765"/>
                    <a:pt x="46850" y="448639"/>
                    <a:pt x="41171" y="390431"/>
                  </a:cubicBezTo>
                  <a:cubicBezTo>
                    <a:pt x="32653" y="316606"/>
                    <a:pt x="2839" y="157600"/>
                    <a:pt x="2839" y="157600"/>
                  </a:cubicBezTo>
                  <a:cubicBezTo>
                    <a:pt x="2839" y="157600"/>
                    <a:pt x="22715" y="34086"/>
                    <a:pt x="41171" y="25568"/>
                  </a:cubicBezTo>
                  <a:cubicBezTo>
                    <a:pt x="102218" y="-1407"/>
                    <a:pt x="154747" y="13"/>
                    <a:pt x="154747" y="13"/>
                  </a:cubicBezTo>
                  <a:lnTo>
                    <a:pt x="254127" y="13"/>
                  </a:ln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0" name="任意多边形: 形状 10079">
              <a:extLst>
                <a:ext uri="{FF2B5EF4-FFF2-40B4-BE49-F238E27FC236}">
                  <a16:creationId xmlns:a16="http://schemas.microsoft.com/office/drawing/2014/main" id="{45E17AF9-7B91-4C3A-AD4F-381EF8DC8083}"/>
                </a:ext>
              </a:extLst>
            </p:cNvPr>
            <p:cNvSpPr/>
            <p:nvPr userDrawn="1"/>
          </p:nvSpPr>
          <p:spPr>
            <a:xfrm>
              <a:off x="8512703" y="3535673"/>
              <a:ext cx="99379" cy="141970"/>
            </a:xfrm>
            <a:custGeom>
              <a:avLst/>
              <a:gdLst>
                <a:gd name="connsiteX0" fmla="*/ 106478 w 99379"/>
                <a:gd name="connsiteY0" fmla="*/ 136759 h 141970"/>
                <a:gd name="connsiteX1" fmla="*/ 0 w 99379"/>
                <a:gd name="connsiteY1" fmla="*/ 119723 h 141970"/>
                <a:gd name="connsiteX2" fmla="*/ 8518 w 99379"/>
                <a:gd name="connsiteY2" fmla="*/ 14665 h 141970"/>
                <a:gd name="connsiteX3" fmla="*/ 106478 w 99379"/>
                <a:gd name="connsiteY3" fmla="*/ 78551 h 141970"/>
                <a:gd name="connsiteX4" fmla="*/ 106478 w 99379"/>
                <a:gd name="connsiteY4" fmla="*/ 99847 h 141970"/>
                <a:gd name="connsiteX5" fmla="*/ 106478 w 99379"/>
                <a:gd name="connsiteY5" fmla="*/ 118303 h 141970"/>
                <a:gd name="connsiteX6" fmla="*/ 106478 w 99379"/>
                <a:gd name="connsiteY6" fmla="*/ 136759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379" h="141970">
                  <a:moveTo>
                    <a:pt x="106478" y="136759"/>
                  </a:moveTo>
                  <a:cubicBezTo>
                    <a:pt x="106478" y="136759"/>
                    <a:pt x="82343" y="156635"/>
                    <a:pt x="0" y="119723"/>
                  </a:cubicBezTo>
                  <a:cubicBezTo>
                    <a:pt x="0" y="119723"/>
                    <a:pt x="12777" y="71453"/>
                    <a:pt x="8518" y="14665"/>
                  </a:cubicBezTo>
                  <a:cubicBezTo>
                    <a:pt x="4259" y="-40703"/>
                    <a:pt x="106478" y="78551"/>
                    <a:pt x="106478" y="78551"/>
                  </a:cubicBezTo>
                  <a:cubicBezTo>
                    <a:pt x="106478" y="87070"/>
                    <a:pt x="106478" y="94168"/>
                    <a:pt x="106478" y="99847"/>
                  </a:cubicBezTo>
                  <a:cubicBezTo>
                    <a:pt x="106478" y="106946"/>
                    <a:pt x="106478" y="114044"/>
                    <a:pt x="106478" y="118303"/>
                  </a:cubicBezTo>
                  <a:cubicBezTo>
                    <a:pt x="105058" y="129661"/>
                    <a:pt x="106478" y="136759"/>
                    <a:pt x="106478" y="136759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1" name="任意多边形: 形状 10080">
              <a:extLst>
                <a:ext uri="{FF2B5EF4-FFF2-40B4-BE49-F238E27FC236}">
                  <a16:creationId xmlns:a16="http://schemas.microsoft.com/office/drawing/2014/main" id="{50B4CC54-178F-48C7-BAD4-CCCCC8111429}"/>
                </a:ext>
              </a:extLst>
            </p:cNvPr>
            <p:cNvSpPr/>
            <p:nvPr userDrawn="1"/>
          </p:nvSpPr>
          <p:spPr>
            <a:xfrm>
              <a:off x="8508444" y="3652940"/>
              <a:ext cx="113576" cy="28394"/>
            </a:xfrm>
            <a:custGeom>
              <a:avLst/>
              <a:gdLst>
                <a:gd name="connsiteX0" fmla="*/ 117836 w 113576"/>
                <a:gd name="connsiteY0" fmla="*/ 5296 h 28394"/>
                <a:gd name="connsiteX1" fmla="*/ 110737 w 113576"/>
                <a:gd name="connsiteY1" fmla="*/ 37949 h 28394"/>
                <a:gd name="connsiteX2" fmla="*/ 0 w 113576"/>
                <a:gd name="connsiteY2" fmla="*/ 2456 h 28394"/>
                <a:gd name="connsiteX3" fmla="*/ 117836 w 113576"/>
                <a:gd name="connsiteY3" fmla="*/ 5296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28394">
                  <a:moveTo>
                    <a:pt x="117836" y="5296"/>
                  </a:moveTo>
                  <a:cubicBezTo>
                    <a:pt x="117836" y="5296"/>
                    <a:pt x="136291" y="33690"/>
                    <a:pt x="110737" y="37949"/>
                  </a:cubicBezTo>
                  <a:cubicBezTo>
                    <a:pt x="83762" y="42208"/>
                    <a:pt x="29814" y="37949"/>
                    <a:pt x="0" y="2456"/>
                  </a:cubicBezTo>
                  <a:cubicBezTo>
                    <a:pt x="0" y="2456"/>
                    <a:pt x="80923" y="-4642"/>
                    <a:pt x="117836" y="5296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2" name="任意多边形: 形状 10081">
              <a:extLst>
                <a:ext uri="{FF2B5EF4-FFF2-40B4-BE49-F238E27FC236}">
                  <a16:creationId xmlns:a16="http://schemas.microsoft.com/office/drawing/2014/main" id="{5EFEE9BF-549A-41D4-AF3A-A6C7DB3ED9DB}"/>
                </a:ext>
              </a:extLst>
            </p:cNvPr>
            <p:cNvSpPr/>
            <p:nvPr userDrawn="1"/>
          </p:nvSpPr>
          <p:spPr>
            <a:xfrm>
              <a:off x="8528319" y="3818662"/>
              <a:ext cx="653063" cy="567881"/>
            </a:xfrm>
            <a:custGeom>
              <a:avLst/>
              <a:gdLst>
                <a:gd name="connsiteX0" fmla="*/ 221474 w 653062"/>
                <a:gd name="connsiteY0" fmla="*/ 0 h 567880"/>
                <a:gd name="connsiteX1" fmla="*/ 0 w 653062"/>
                <a:gd name="connsiteY1" fmla="*/ 545166 h 567880"/>
                <a:gd name="connsiteX2" fmla="*/ 444367 w 653062"/>
                <a:gd name="connsiteY2" fmla="*/ 545166 h 567880"/>
                <a:gd name="connsiteX3" fmla="*/ 663001 w 653062"/>
                <a:gd name="connsiteY3" fmla="*/ 14197 h 567880"/>
                <a:gd name="connsiteX4" fmla="*/ 221474 w 653062"/>
                <a:gd name="connsiteY4" fmla="*/ 0 h 567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3062" h="567880">
                  <a:moveTo>
                    <a:pt x="221474" y="0"/>
                  </a:moveTo>
                  <a:cubicBezTo>
                    <a:pt x="221474" y="0"/>
                    <a:pt x="156167" y="346407"/>
                    <a:pt x="0" y="545166"/>
                  </a:cubicBezTo>
                  <a:cubicBezTo>
                    <a:pt x="0" y="545166"/>
                    <a:pt x="159007" y="617570"/>
                    <a:pt x="444367" y="545166"/>
                  </a:cubicBezTo>
                  <a:cubicBezTo>
                    <a:pt x="444367" y="545166"/>
                    <a:pt x="643125" y="205857"/>
                    <a:pt x="663001" y="14197"/>
                  </a:cubicBezTo>
                  <a:cubicBezTo>
                    <a:pt x="663001" y="14197"/>
                    <a:pt x="465663" y="53949"/>
                    <a:pt x="221474" y="0"/>
                  </a:cubicBezTo>
                  <a:close/>
                </a:path>
              </a:pathLst>
            </a:custGeom>
            <a:solidFill>
              <a:srgbClr val="DBDFF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3" name="任意多边形: 形状 10082">
              <a:extLst>
                <a:ext uri="{FF2B5EF4-FFF2-40B4-BE49-F238E27FC236}">
                  <a16:creationId xmlns:a16="http://schemas.microsoft.com/office/drawing/2014/main" id="{995D8534-159F-42B0-8709-711A775C83C4}"/>
                </a:ext>
              </a:extLst>
            </p:cNvPr>
            <p:cNvSpPr/>
            <p:nvPr userDrawn="1"/>
          </p:nvSpPr>
          <p:spPr>
            <a:xfrm>
              <a:off x="8559553" y="3856994"/>
              <a:ext cx="596275" cy="511093"/>
            </a:xfrm>
            <a:custGeom>
              <a:avLst/>
              <a:gdLst>
                <a:gd name="connsiteX0" fmla="*/ 201598 w 596274"/>
                <a:gd name="connsiteY0" fmla="*/ 0 h 511092"/>
                <a:gd name="connsiteX1" fmla="*/ 0 w 596274"/>
                <a:gd name="connsiteY1" fmla="*/ 494056 h 511092"/>
                <a:gd name="connsiteX2" fmla="*/ 401776 w 596274"/>
                <a:gd name="connsiteY2" fmla="*/ 494056 h 511092"/>
                <a:gd name="connsiteX3" fmla="*/ 599114 w 596274"/>
                <a:gd name="connsiteY3" fmla="*/ 14197 h 511092"/>
                <a:gd name="connsiteX4" fmla="*/ 201598 w 596274"/>
                <a:gd name="connsiteY4" fmla="*/ 0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6274" h="511092">
                  <a:moveTo>
                    <a:pt x="201598" y="0"/>
                  </a:moveTo>
                  <a:cubicBezTo>
                    <a:pt x="201598" y="0"/>
                    <a:pt x="143390" y="313754"/>
                    <a:pt x="0" y="494056"/>
                  </a:cubicBezTo>
                  <a:cubicBezTo>
                    <a:pt x="0" y="494056"/>
                    <a:pt x="143390" y="560782"/>
                    <a:pt x="401776" y="494056"/>
                  </a:cubicBezTo>
                  <a:cubicBezTo>
                    <a:pt x="401776" y="494056"/>
                    <a:pt x="580658" y="185981"/>
                    <a:pt x="599114" y="14197"/>
                  </a:cubicBezTo>
                  <a:cubicBezTo>
                    <a:pt x="600534" y="12777"/>
                    <a:pt x="421652" y="48270"/>
                    <a:pt x="201598" y="0"/>
                  </a:cubicBezTo>
                  <a:close/>
                </a:path>
              </a:pathLst>
            </a:custGeom>
            <a:solidFill>
              <a:srgbClr val="BDC9F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4" name="任意多边形: 形状 10083">
              <a:extLst>
                <a:ext uri="{FF2B5EF4-FFF2-40B4-BE49-F238E27FC236}">
                  <a16:creationId xmlns:a16="http://schemas.microsoft.com/office/drawing/2014/main" id="{43097A5D-B710-4084-9933-61EF26A7802E}"/>
                </a:ext>
              </a:extLst>
            </p:cNvPr>
            <p:cNvSpPr/>
            <p:nvPr userDrawn="1"/>
          </p:nvSpPr>
          <p:spPr>
            <a:xfrm>
              <a:off x="8541097" y="3601447"/>
              <a:ext cx="70985" cy="42591"/>
            </a:xfrm>
            <a:custGeom>
              <a:avLst/>
              <a:gdLst>
                <a:gd name="connsiteX0" fmla="*/ 76664 w 70985"/>
                <a:gd name="connsiteY0" fmla="*/ 51109 h 42591"/>
                <a:gd name="connsiteX1" fmla="*/ 0 w 70985"/>
                <a:gd name="connsiteY1" fmla="*/ 0 h 42591"/>
                <a:gd name="connsiteX2" fmla="*/ 76664 w 70985"/>
                <a:gd name="connsiteY2" fmla="*/ 31233 h 42591"/>
                <a:gd name="connsiteX3" fmla="*/ 76664 w 70985"/>
                <a:gd name="connsiteY3" fmla="*/ 32653 h 42591"/>
                <a:gd name="connsiteX4" fmla="*/ 76664 w 70985"/>
                <a:gd name="connsiteY4" fmla="*/ 51109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42591">
                  <a:moveTo>
                    <a:pt x="76664" y="51109"/>
                  </a:moveTo>
                  <a:cubicBezTo>
                    <a:pt x="19876" y="48270"/>
                    <a:pt x="0" y="0"/>
                    <a:pt x="0" y="0"/>
                  </a:cubicBezTo>
                  <a:cubicBezTo>
                    <a:pt x="28394" y="39752"/>
                    <a:pt x="76664" y="31233"/>
                    <a:pt x="76664" y="31233"/>
                  </a:cubicBezTo>
                  <a:lnTo>
                    <a:pt x="76664" y="32653"/>
                  </a:lnTo>
                  <a:cubicBezTo>
                    <a:pt x="76664" y="39752"/>
                    <a:pt x="76664" y="45430"/>
                    <a:pt x="76664" y="51109"/>
                  </a:cubicBezTo>
                  <a:close/>
                </a:path>
              </a:pathLst>
            </a:custGeom>
            <a:solidFill>
              <a:srgbClr val="A7786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5" name="任意多边形: 形状 10084">
              <a:extLst>
                <a:ext uri="{FF2B5EF4-FFF2-40B4-BE49-F238E27FC236}">
                  <a16:creationId xmlns:a16="http://schemas.microsoft.com/office/drawing/2014/main" id="{9933B2EF-621A-440B-AB92-2DECB190CD83}"/>
                </a:ext>
              </a:extLst>
            </p:cNvPr>
            <p:cNvSpPr/>
            <p:nvPr userDrawn="1"/>
          </p:nvSpPr>
          <p:spPr>
            <a:xfrm>
              <a:off x="8542377" y="4155884"/>
              <a:ext cx="70985" cy="70985"/>
            </a:xfrm>
            <a:custGeom>
              <a:avLst/>
              <a:gdLst>
                <a:gd name="connsiteX0" fmla="*/ 28534 w 70985"/>
                <a:gd name="connsiteY0" fmla="*/ 4926 h 70985"/>
                <a:gd name="connsiteX1" fmla="*/ 41311 w 70985"/>
                <a:gd name="connsiteY1" fmla="*/ 9185 h 70985"/>
                <a:gd name="connsiteX2" fmla="*/ 76804 w 70985"/>
                <a:gd name="connsiteY2" fmla="*/ 3507 h 70985"/>
                <a:gd name="connsiteX3" fmla="*/ 59767 w 70985"/>
                <a:gd name="connsiteY3" fmla="*/ 75911 h 70985"/>
                <a:gd name="connsiteX4" fmla="*/ 5819 w 70985"/>
                <a:gd name="connsiteY4" fmla="*/ 47517 h 70985"/>
                <a:gd name="connsiteX5" fmla="*/ 28534 w 70985"/>
                <a:gd name="connsiteY5" fmla="*/ 4926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985" h="70985">
                  <a:moveTo>
                    <a:pt x="28534" y="4926"/>
                  </a:moveTo>
                  <a:cubicBezTo>
                    <a:pt x="28534" y="4926"/>
                    <a:pt x="35632" y="10605"/>
                    <a:pt x="41311" y="9185"/>
                  </a:cubicBezTo>
                  <a:cubicBezTo>
                    <a:pt x="52669" y="7766"/>
                    <a:pt x="64026" y="-6431"/>
                    <a:pt x="76804" y="3507"/>
                  </a:cubicBezTo>
                  <a:cubicBezTo>
                    <a:pt x="89581" y="14864"/>
                    <a:pt x="68285" y="68813"/>
                    <a:pt x="59767" y="75911"/>
                  </a:cubicBezTo>
                  <a:cubicBezTo>
                    <a:pt x="51249" y="83010"/>
                    <a:pt x="29953" y="74492"/>
                    <a:pt x="5819" y="47517"/>
                  </a:cubicBezTo>
                  <a:cubicBezTo>
                    <a:pt x="-15477" y="21963"/>
                    <a:pt x="28534" y="4926"/>
                    <a:pt x="28534" y="4926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6" name="任意多边形: 形状 10085">
              <a:extLst>
                <a:ext uri="{FF2B5EF4-FFF2-40B4-BE49-F238E27FC236}">
                  <a16:creationId xmlns:a16="http://schemas.microsoft.com/office/drawing/2014/main" id="{0FB03D23-70F5-4E3A-A200-98A19BFFD6CC}"/>
                </a:ext>
              </a:extLst>
            </p:cNvPr>
            <p:cNvSpPr/>
            <p:nvPr userDrawn="1"/>
          </p:nvSpPr>
          <p:spPr>
            <a:xfrm>
              <a:off x="8577292" y="4156551"/>
              <a:ext cx="127773" cy="85182"/>
            </a:xfrm>
            <a:custGeom>
              <a:avLst/>
              <a:gdLst>
                <a:gd name="connsiteX0" fmla="*/ 37629 w 127773"/>
                <a:gd name="connsiteY0" fmla="*/ 0 h 85182"/>
                <a:gd name="connsiteX1" fmla="*/ 85899 w 127773"/>
                <a:gd name="connsiteY1" fmla="*/ 17036 h 85182"/>
                <a:gd name="connsiteX2" fmla="*/ 132749 w 127773"/>
                <a:gd name="connsiteY2" fmla="*/ 46850 h 85182"/>
                <a:gd name="connsiteX3" fmla="*/ 87319 w 127773"/>
                <a:gd name="connsiteY3" fmla="*/ 34073 h 85182"/>
                <a:gd name="connsiteX4" fmla="*/ 70282 w 127773"/>
                <a:gd name="connsiteY4" fmla="*/ 32653 h 85182"/>
                <a:gd name="connsiteX5" fmla="*/ 90158 w 127773"/>
                <a:gd name="connsiteY5" fmla="*/ 44011 h 85182"/>
                <a:gd name="connsiteX6" fmla="*/ 134169 w 127773"/>
                <a:gd name="connsiteY6" fmla="*/ 79503 h 85182"/>
                <a:gd name="connsiteX7" fmla="*/ 122811 w 127773"/>
                <a:gd name="connsiteY7" fmla="*/ 80923 h 85182"/>
                <a:gd name="connsiteX8" fmla="*/ 127071 w 127773"/>
                <a:gd name="connsiteY8" fmla="*/ 88022 h 85182"/>
                <a:gd name="connsiteX9" fmla="*/ 71702 w 127773"/>
                <a:gd name="connsiteY9" fmla="*/ 80923 h 85182"/>
                <a:gd name="connsiteX10" fmla="*/ 83060 w 127773"/>
                <a:gd name="connsiteY10" fmla="*/ 95120 h 85182"/>
                <a:gd name="connsiteX11" fmla="*/ 4976 w 127773"/>
                <a:gd name="connsiteY11" fmla="*/ 73825 h 85182"/>
                <a:gd name="connsiteX12" fmla="*/ 37629 w 127773"/>
                <a:gd name="connsiteY12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7773" h="85182">
                  <a:moveTo>
                    <a:pt x="37629" y="0"/>
                  </a:moveTo>
                  <a:cubicBezTo>
                    <a:pt x="37629" y="0"/>
                    <a:pt x="60344" y="5679"/>
                    <a:pt x="85899" y="17036"/>
                  </a:cubicBezTo>
                  <a:cubicBezTo>
                    <a:pt x="108614" y="25555"/>
                    <a:pt x="132749" y="41171"/>
                    <a:pt x="132749" y="46850"/>
                  </a:cubicBezTo>
                  <a:cubicBezTo>
                    <a:pt x="132749" y="52529"/>
                    <a:pt x="110034" y="41171"/>
                    <a:pt x="87319" y="34073"/>
                  </a:cubicBezTo>
                  <a:cubicBezTo>
                    <a:pt x="66023" y="26974"/>
                    <a:pt x="70282" y="32653"/>
                    <a:pt x="70282" y="32653"/>
                  </a:cubicBezTo>
                  <a:cubicBezTo>
                    <a:pt x="70282" y="32653"/>
                    <a:pt x="68863" y="31234"/>
                    <a:pt x="90158" y="44011"/>
                  </a:cubicBezTo>
                  <a:cubicBezTo>
                    <a:pt x="112874" y="56788"/>
                    <a:pt x="135588" y="73825"/>
                    <a:pt x="134169" y="79503"/>
                  </a:cubicBezTo>
                  <a:cubicBezTo>
                    <a:pt x="134169" y="82343"/>
                    <a:pt x="132749" y="83762"/>
                    <a:pt x="122811" y="80923"/>
                  </a:cubicBezTo>
                  <a:cubicBezTo>
                    <a:pt x="127071" y="83762"/>
                    <a:pt x="127071" y="86602"/>
                    <a:pt x="127071" y="88022"/>
                  </a:cubicBezTo>
                  <a:cubicBezTo>
                    <a:pt x="121391" y="100799"/>
                    <a:pt x="85899" y="86602"/>
                    <a:pt x="71702" y="80923"/>
                  </a:cubicBezTo>
                  <a:cubicBezTo>
                    <a:pt x="83060" y="85182"/>
                    <a:pt x="90158" y="89441"/>
                    <a:pt x="83060" y="95120"/>
                  </a:cubicBezTo>
                  <a:cubicBezTo>
                    <a:pt x="74541" y="100799"/>
                    <a:pt x="23432" y="79503"/>
                    <a:pt x="4976" y="73825"/>
                  </a:cubicBezTo>
                  <a:cubicBezTo>
                    <a:pt x="-16319" y="66726"/>
                    <a:pt x="37629" y="0"/>
                    <a:pt x="37629" y="0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7" name="任意多边形: 形状 10086">
              <a:extLst>
                <a:ext uri="{FF2B5EF4-FFF2-40B4-BE49-F238E27FC236}">
                  <a16:creationId xmlns:a16="http://schemas.microsoft.com/office/drawing/2014/main" id="{3E2E95A7-D1ED-4B4B-8BE2-AC6DCF11FB4E}"/>
                </a:ext>
              </a:extLst>
            </p:cNvPr>
            <p:cNvSpPr/>
            <p:nvPr userDrawn="1"/>
          </p:nvSpPr>
          <p:spPr>
            <a:xfrm>
              <a:off x="9088974" y="4033674"/>
              <a:ext cx="56788" cy="99379"/>
            </a:xfrm>
            <a:custGeom>
              <a:avLst/>
              <a:gdLst>
                <a:gd name="connsiteX0" fmla="*/ 1548 w 56788"/>
                <a:gd name="connsiteY0" fmla="*/ 101581 h 99379"/>
                <a:gd name="connsiteX1" fmla="*/ 29942 w 56788"/>
                <a:gd name="connsiteY1" fmla="*/ 87384 h 99379"/>
                <a:gd name="connsiteX2" fmla="*/ 46978 w 56788"/>
                <a:gd name="connsiteY2" fmla="*/ 67508 h 99379"/>
                <a:gd name="connsiteX3" fmla="*/ 54077 w 56788"/>
                <a:gd name="connsiteY3" fmla="*/ 7881 h 99379"/>
                <a:gd name="connsiteX4" fmla="*/ 32781 w 56788"/>
                <a:gd name="connsiteY4" fmla="*/ 782 h 99379"/>
                <a:gd name="connsiteX5" fmla="*/ 1548 w 56788"/>
                <a:gd name="connsiteY5" fmla="*/ 101581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788" h="99379">
                  <a:moveTo>
                    <a:pt x="1548" y="101581"/>
                  </a:moveTo>
                  <a:cubicBezTo>
                    <a:pt x="1548" y="101581"/>
                    <a:pt x="24263" y="97322"/>
                    <a:pt x="29942" y="87384"/>
                  </a:cubicBezTo>
                  <a:cubicBezTo>
                    <a:pt x="37040" y="77446"/>
                    <a:pt x="39880" y="80286"/>
                    <a:pt x="46978" y="67508"/>
                  </a:cubicBezTo>
                  <a:cubicBezTo>
                    <a:pt x="54077" y="54731"/>
                    <a:pt x="61175" y="20658"/>
                    <a:pt x="54077" y="7881"/>
                  </a:cubicBezTo>
                  <a:cubicBezTo>
                    <a:pt x="45559" y="-3477"/>
                    <a:pt x="32781" y="782"/>
                    <a:pt x="32781" y="782"/>
                  </a:cubicBezTo>
                  <a:cubicBezTo>
                    <a:pt x="32781" y="782"/>
                    <a:pt x="-8390" y="30596"/>
                    <a:pt x="1548" y="101581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8" name="任意多边形: 形状 10087">
              <a:extLst>
                <a:ext uri="{FF2B5EF4-FFF2-40B4-BE49-F238E27FC236}">
                  <a16:creationId xmlns:a16="http://schemas.microsoft.com/office/drawing/2014/main" id="{49AFA127-E140-4CDC-AB8F-5EF16EE422BB}"/>
                </a:ext>
              </a:extLst>
            </p:cNvPr>
            <p:cNvSpPr/>
            <p:nvPr userDrawn="1"/>
          </p:nvSpPr>
          <p:spPr>
            <a:xfrm>
              <a:off x="8371885" y="3827180"/>
              <a:ext cx="170364" cy="283940"/>
            </a:xfrm>
            <a:custGeom>
              <a:avLst/>
              <a:gdLst>
                <a:gd name="connsiteX0" fmla="*/ 81191 w 170364"/>
                <a:gd name="connsiteY0" fmla="*/ 0 h 283940"/>
                <a:gd name="connsiteX1" fmla="*/ 59895 w 170364"/>
                <a:gd name="connsiteY1" fmla="*/ 168945 h 283940"/>
                <a:gd name="connsiteX2" fmla="*/ 170632 w 170364"/>
                <a:gd name="connsiteY2" fmla="*/ 291039 h 283940"/>
                <a:gd name="connsiteX3" fmla="*/ 268 w 170364"/>
                <a:gd name="connsiteY3" fmla="*/ 168945 h 283940"/>
                <a:gd name="connsiteX4" fmla="*/ 81191 w 170364"/>
                <a:gd name="connsiteY4" fmla="*/ 0 h 28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364" h="283940">
                  <a:moveTo>
                    <a:pt x="81191" y="0"/>
                  </a:moveTo>
                  <a:cubicBezTo>
                    <a:pt x="81191" y="0"/>
                    <a:pt x="47118" y="159007"/>
                    <a:pt x="59895" y="168945"/>
                  </a:cubicBezTo>
                  <a:cubicBezTo>
                    <a:pt x="72672" y="178882"/>
                    <a:pt x="153596" y="278262"/>
                    <a:pt x="170632" y="291039"/>
                  </a:cubicBezTo>
                  <a:cubicBezTo>
                    <a:pt x="187668" y="303816"/>
                    <a:pt x="5947" y="193079"/>
                    <a:pt x="268" y="168945"/>
                  </a:cubicBezTo>
                  <a:cubicBezTo>
                    <a:pt x="-5411" y="144810"/>
                    <a:pt x="81191" y="0"/>
                    <a:pt x="81191" y="0"/>
                  </a:cubicBezTo>
                  <a:close/>
                </a:path>
              </a:pathLst>
            </a:custGeom>
            <a:solidFill>
              <a:srgbClr val="A87F2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9" name="任意多边形: 形状 10088">
              <a:extLst>
                <a:ext uri="{FF2B5EF4-FFF2-40B4-BE49-F238E27FC236}">
                  <a16:creationId xmlns:a16="http://schemas.microsoft.com/office/drawing/2014/main" id="{58D277D5-6745-4243-A514-1CD23484B956}"/>
                </a:ext>
              </a:extLst>
            </p:cNvPr>
            <p:cNvSpPr/>
            <p:nvPr userDrawn="1"/>
          </p:nvSpPr>
          <p:spPr>
            <a:xfrm>
              <a:off x="8290893" y="3675304"/>
              <a:ext cx="298137" cy="539487"/>
            </a:xfrm>
            <a:custGeom>
              <a:avLst/>
              <a:gdLst>
                <a:gd name="connsiteX0" fmla="*/ 149405 w 298137"/>
                <a:gd name="connsiteY0" fmla="*/ 2807 h 539486"/>
                <a:gd name="connsiteX1" fmla="*/ 169281 w 298137"/>
                <a:gd name="connsiteY1" fmla="*/ 90828 h 539486"/>
                <a:gd name="connsiteX2" fmla="*/ 143726 w 298137"/>
                <a:gd name="connsiteY2" fmla="*/ 201565 h 539486"/>
                <a:gd name="connsiteX3" fmla="*/ 108234 w 298137"/>
                <a:gd name="connsiteY3" fmla="*/ 322240 h 539486"/>
                <a:gd name="connsiteX4" fmla="*/ 207613 w 298137"/>
                <a:gd name="connsiteY4" fmla="*/ 408842 h 539486"/>
                <a:gd name="connsiteX5" fmla="*/ 306992 w 298137"/>
                <a:gd name="connsiteY5" fmla="*/ 485506 h 539486"/>
                <a:gd name="connsiteX6" fmla="*/ 268660 w 298137"/>
                <a:gd name="connsiteY6" fmla="*/ 550812 h 539486"/>
                <a:gd name="connsiteX7" fmla="*/ 52865 w 298137"/>
                <a:gd name="connsiteY7" fmla="*/ 408842 h 539486"/>
                <a:gd name="connsiteX8" fmla="*/ 1756 w 298137"/>
                <a:gd name="connsiteY8" fmla="*/ 316561 h 539486"/>
                <a:gd name="connsiteX9" fmla="*/ 35829 w 298137"/>
                <a:gd name="connsiteY9" fmla="*/ 129160 h 539486"/>
                <a:gd name="connsiteX10" fmla="*/ 149405 w 298137"/>
                <a:gd name="connsiteY10" fmla="*/ 2807 h 539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8137" h="539486">
                  <a:moveTo>
                    <a:pt x="149405" y="2807"/>
                  </a:moveTo>
                  <a:cubicBezTo>
                    <a:pt x="162182" y="7066"/>
                    <a:pt x="169281" y="28361"/>
                    <a:pt x="169281" y="90828"/>
                  </a:cubicBezTo>
                  <a:cubicBezTo>
                    <a:pt x="170701" y="154715"/>
                    <a:pt x="150825" y="185948"/>
                    <a:pt x="143726" y="201565"/>
                  </a:cubicBezTo>
                  <a:cubicBezTo>
                    <a:pt x="136628" y="217182"/>
                    <a:pt x="99716" y="310882"/>
                    <a:pt x="108234" y="322240"/>
                  </a:cubicBezTo>
                  <a:cubicBezTo>
                    <a:pt x="118172" y="333597"/>
                    <a:pt x="201934" y="403163"/>
                    <a:pt x="207613" y="408842"/>
                  </a:cubicBezTo>
                  <a:cubicBezTo>
                    <a:pt x="213292" y="414520"/>
                    <a:pt x="306992" y="485506"/>
                    <a:pt x="306992" y="485506"/>
                  </a:cubicBezTo>
                  <a:lnTo>
                    <a:pt x="268660" y="550812"/>
                  </a:lnTo>
                  <a:cubicBezTo>
                    <a:pt x="268660" y="550812"/>
                    <a:pt x="68482" y="421619"/>
                    <a:pt x="52865" y="408842"/>
                  </a:cubicBezTo>
                  <a:cubicBezTo>
                    <a:pt x="37249" y="396064"/>
                    <a:pt x="-9602" y="369090"/>
                    <a:pt x="1756" y="316561"/>
                  </a:cubicBezTo>
                  <a:cubicBezTo>
                    <a:pt x="13114" y="264032"/>
                    <a:pt x="31570" y="139098"/>
                    <a:pt x="35829" y="129160"/>
                  </a:cubicBezTo>
                  <a:cubicBezTo>
                    <a:pt x="38668" y="117803"/>
                    <a:pt x="64223" y="-21328"/>
                    <a:pt x="149405" y="2807"/>
                  </a:cubicBez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0" name="任意多边形: 形状 10089">
              <a:extLst>
                <a:ext uri="{FF2B5EF4-FFF2-40B4-BE49-F238E27FC236}">
                  <a16:creationId xmlns:a16="http://schemas.microsoft.com/office/drawing/2014/main" id="{4982B53D-75AA-4FA7-BA12-3FA26A48746C}"/>
                </a:ext>
              </a:extLst>
            </p:cNvPr>
            <p:cNvSpPr/>
            <p:nvPr userDrawn="1"/>
          </p:nvSpPr>
          <p:spPr>
            <a:xfrm>
              <a:off x="10017587" y="3636940"/>
              <a:ext cx="70985" cy="85182"/>
            </a:xfrm>
            <a:custGeom>
              <a:avLst/>
              <a:gdLst>
                <a:gd name="connsiteX0" fmla="*/ 59627 w 70985"/>
                <a:gd name="connsiteY0" fmla="*/ 92281 h 85182"/>
                <a:gd name="connsiteX1" fmla="*/ 59627 w 70985"/>
                <a:gd name="connsiteY1" fmla="*/ 49690 h 85182"/>
                <a:gd name="connsiteX2" fmla="*/ 0 w 70985"/>
                <a:gd name="connsiteY2" fmla="*/ 8518 h 85182"/>
                <a:gd name="connsiteX3" fmla="*/ 5679 w 70985"/>
                <a:gd name="connsiteY3" fmla="*/ 0 h 85182"/>
                <a:gd name="connsiteX4" fmla="*/ 66726 w 70985"/>
                <a:gd name="connsiteY4" fmla="*/ 42591 h 85182"/>
                <a:gd name="connsiteX5" fmla="*/ 70985 w 70985"/>
                <a:gd name="connsiteY5" fmla="*/ 93700 h 85182"/>
                <a:gd name="connsiteX6" fmla="*/ 59627 w 70985"/>
                <a:gd name="connsiteY6" fmla="*/ 92281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85" h="85182">
                  <a:moveTo>
                    <a:pt x="59627" y="92281"/>
                  </a:moveTo>
                  <a:cubicBezTo>
                    <a:pt x="62467" y="72405"/>
                    <a:pt x="62467" y="52529"/>
                    <a:pt x="59627" y="49690"/>
                  </a:cubicBezTo>
                  <a:cubicBezTo>
                    <a:pt x="53949" y="44011"/>
                    <a:pt x="18456" y="19876"/>
                    <a:pt x="0" y="8518"/>
                  </a:cubicBezTo>
                  <a:lnTo>
                    <a:pt x="5679" y="0"/>
                  </a:lnTo>
                  <a:cubicBezTo>
                    <a:pt x="8518" y="1420"/>
                    <a:pt x="58207" y="35493"/>
                    <a:pt x="66726" y="42591"/>
                  </a:cubicBezTo>
                  <a:cubicBezTo>
                    <a:pt x="75244" y="51109"/>
                    <a:pt x="72404" y="80923"/>
                    <a:pt x="70985" y="93700"/>
                  </a:cubicBezTo>
                  <a:lnTo>
                    <a:pt x="59627" y="92281"/>
                  </a:lnTo>
                  <a:close/>
                </a:path>
              </a:pathLst>
            </a:custGeom>
            <a:solidFill>
              <a:srgbClr val="FFE0E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1" name="任意多边形: 形状 10090">
              <a:extLst>
                <a:ext uri="{FF2B5EF4-FFF2-40B4-BE49-F238E27FC236}">
                  <a16:creationId xmlns:a16="http://schemas.microsoft.com/office/drawing/2014/main" id="{0A3F9538-C081-466D-B5B9-65330610498A}"/>
                </a:ext>
              </a:extLst>
            </p:cNvPr>
            <p:cNvSpPr/>
            <p:nvPr userDrawn="1"/>
          </p:nvSpPr>
          <p:spPr>
            <a:xfrm>
              <a:off x="10010489" y="3717863"/>
              <a:ext cx="113576" cy="170364"/>
            </a:xfrm>
            <a:custGeom>
              <a:avLst/>
              <a:gdLst>
                <a:gd name="connsiteX0" fmla="*/ 18456 w 113576"/>
                <a:gd name="connsiteY0" fmla="*/ 0 h 170364"/>
                <a:gd name="connsiteX1" fmla="*/ 0 w 113576"/>
                <a:gd name="connsiteY1" fmla="*/ 160426 h 170364"/>
                <a:gd name="connsiteX2" fmla="*/ 69565 w 113576"/>
                <a:gd name="connsiteY2" fmla="*/ 176043 h 170364"/>
                <a:gd name="connsiteX3" fmla="*/ 122094 w 113576"/>
                <a:gd name="connsiteY3" fmla="*/ 22715 h 17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170364">
                  <a:moveTo>
                    <a:pt x="18456" y="0"/>
                  </a:moveTo>
                  <a:lnTo>
                    <a:pt x="0" y="160426"/>
                  </a:lnTo>
                  <a:lnTo>
                    <a:pt x="69565" y="176043"/>
                  </a:lnTo>
                  <a:lnTo>
                    <a:pt x="122094" y="22715"/>
                  </a:lnTo>
                  <a:close/>
                </a:path>
              </a:pathLst>
            </a:custGeom>
            <a:solidFill>
              <a:srgbClr val="FF556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2" name="任意多边形: 形状 10091">
              <a:extLst>
                <a:ext uri="{FF2B5EF4-FFF2-40B4-BE49-F238E27FC236}">
                  <a16:creationId xmlns:a16="http://schemas.microsoft.com/office/drawing/2014/main" id="{FCAEF5DC-CBB9-409B-A314-D4E3D8B70C0C}"/>
                </a:ext>
              </a:extLst>
            </p:cNvPr>
            <p:cNvSpPr/>
            <p:nvPr userDrawn="1"/>
          </p:nvSpPr>
          <p:spPr>
            <a:xfrm>
              <a:off x="9590391" y="3487069"/>
              <a:ext cx="269743" cy="440108"/>
            </a:xfrm>
            <a:custGeom>
              <a:avLst/>
              <a:gdLst>
                <a:gd name="connsiteX0" fmla="*/ 104923 w 269743"/>
                <a:gd name="connsiteY0" fmla="*/ 802 h 440107"/>
                <a:gd name="connsiteX1" fmla="*/ 12643 w 269743"/>
                <a:gd name="connsiteY1" fmla="*/ 56171 h 440107"/>
                <a:gd name="connsiteX2" fmla="*/ 14062 w 269743"/>
                <a:gd name="connsiteY2" fmla="*/ 178265 h 440107"/>
                <a:gd name="connsiteX3" fmla="*/ 24000 w 269743"/>
                <a:gd name="connsiteY3" fmla="*/ 284743 h 440107"/>
                <a:gd name="connsiteX4" fmla="*/ 2704 w 269743"/>
                <a:gd name="connsiteY4" fmla="*/ 355728 h 440107"/>
                <a:gd name="connsiteX5" fmla="*/ 9803 w 269743"/>
                <a:gd name="connsiteY5" fmla="*/ 381282 h 440107"/>
                <a:gd name="connsiteX6" fmla="*/ 276707 w 269743"/>
                <a:gd name="connsiteY6" fmla="*/ 440910 h 440107"/>
                <a:gd name="connsiteX7" fmla="*/ 251152 w 269743"/>
                <a:gd name="connsiteY7" fmla="*/ 345790 h 440107"/>
                <a:gd name="connsiteX8" fmla="*/ 234116 w 269743"/>
                <a:gd name="connsiteY8" fmla="*/ 260608 h 440107"/>
                <a:gd name="connsiteX9" fmla="*/ 249733 w 269743"/>
                <a:gd name="connsiteY9" fmla="*/ 132834 h 440107"/>
                <a:gd name="connsiteX10" fmla="*/ 188686 w 269743"/>
                <a:gd name="connsiteY10" fmla="*/ 20678 h 440107"/>
                <a:gd name="connsiteX11" fmla="*/ 104923 w 269743"/>
                <a:gd name="connsiteY11" fmla="*/ 802 h 440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9743" h="440107">
                  <a:moveTo>
                    <a:pt x="104923" y="802"/>
                  </a:moveTo>
                  <a:cubicBezTo>
                    <a:pt x="104923" y="802"/>
                    <a:pt x="35358" y="-2037"/>
                    <a:pt x="12643" y="56171"/>
                  </a:cubicBezTo>
                  <a:cubicBezTo>
                    <a:pt x="-10073" y="112959"/>
                    <a:pt x="6964" y="156969"/>
                    <a:pt x="14062" y="178265"/>
                  </a:cubicBezTo>
                  <a:cubicBezTo>
                    <a:pt x="31099" y="232214"/>
                    <a:pt x="32518" y="252089"/>
                    <a:pt x="24000" y="284743"/>
                  </a:cubicBezTo>
                  <a:cubicBezTo>
                    <a:pt x="16901" y="314556"/>
                    <a:pt x="9803" y="328753"/>
                    <a:pt x="2704" y="355728"/>
                  </a:cubicBezTo>
                  <a:cubicBezTo>
                    <a:pt x="-5813" y="382702"/>
                    <a:pt x="8384" y="379863"/>
                    <a:pt x="9803" y="381282"/>
                  </a:cubicBezTo>
                  <a:cubicBezTo>
                    <a:pt x="11223" y="382702"/>
                    <a:pt x="276707" y="440910"/>
                    <a:pt x="276707" y="440910"/>
                  </a:cubicBezTo>
                  <a:cubicBezTo>
                    <a:pt x="276707" y="440910"/>
                    <a:pt x="268189" y="372764"/>
                    <a:pt x="251152" y="345790"/>
                  </a:cubicBezTo>
                  <a:cubicBezTo>
                    <a:pt x="238375" y="325914"/>
                    <a:pt x="218499" y="318815"/>
                    <a:pt x="234116" y="260608"/>
                  </a:cubicBezTo>
                  <a:cubicBezTo>
                    <a:pt x="248313" y="202400"/>
                    <a:pt x="258251" y="175426"/>
                    <a:pt x="249733" y="132834"/>
                  </a:cubicBezTo>
                  <a:cubicBezTo>
                    <a:pt x="239795" y="83145"/>
                    <a:pt x="234116" y="53331"/>
                    <a:pt x="188686" y="20678"/>
                  </a:cubicBezTo>
                  <a:cubicBezTo>
                    <a:pt x="158872" y="2222"/>
                    <a:pt x="127639" y="-2037"/>
                    <a:pt x="104923" y="802"/>
                  </a:cubicBezTo>
                  <a:close/>
                </a:path>
              </a:pathLst>
            </a:custGeom>
            <a:solidFill>
              <a:srgbClr val="3B3B4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3" name="任意多边形: 形状 10092">
              <a:extLst>
                <a:ext uri="{FF2B5EF4-FFF2-40B4-BE49-F238E27FC236}">
                  <a16:creationId xmlns:a16="http://schemas.microsoft.com/office/drawing/2014/main" id="{0CF524EB-8DF9-4DC4-8837-246D6C5761EE}"/>
                </a:ext>
              </a:extLst>
            </p:cNvPr>
            <p:cNvSpPr/>
            <p:nvPr userDrawn="1"/>
          </p:nvSpPr>
          <p:spPr>
            <a:xfrm>
              <a:off x="9477342" y="3902424"/>
              <a:ext cx="127773" cy="440108"/>
            </a:xfrm>
            <a:custGeom>
              <a:avLst/>
              <a:gdLst>
                <a:gd name="connsiteX0" fmla="*/ 139889 w 127773"/>
                <a:gd name="connsiteY0" fmla="*/ 315174 h 440107"/>
                <a:gd name="connsiteX1" fmla="*/ 110075 w 127773"/>
                <a:gd name="connsiteY1" fmla="*/ 441527 h 440107"/>
                <a:gd name="connsiteX2" fmla="*/ 24893 w 127773"/>
                <a:gd name="connsiteY2" fmla="*/ 428750 h 440107"/>
                <a:gd name="connsiteX3" fmla="*/ 759 w 127773"/>
                <a:gd name="connsiteY3" fmla="*/ 306656 h 440107"/>
                <a:gd name="connsiteX4" fmla="*/ 56127 w 127773"/>
                <a:gd name="connsiteY4" fmla="*/ 0 h 440107"/>
                <a:gd name="connsiteX5" fmla="*/ 139889 w 127773"/>
                <a:gd name="connsiteY5" fmla="*/ 315174 h 440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773" h="440107">
                  <a:moveTo>
                    <a:pt x="139889" y="315174"/>
                  </a:moveTo>
                  <a:cubicBezTo>
                    <a:pt x="137050" y="354926"/>
                    <a:pt x="128532" y="397517"/>
                    <a:pt x="110075" y="441527"/>
                  </a:cubicBezTo>
                  <a:cubicBezTo>
                    <a:pt x="110075" y="441527"/>
                    <a:pt x="53287" y="465662"/>
                    <a:pt x="24893" y="428750"/>
                  </a:cubicBezTo>
                  <a:cubicBezTo>
                    <a:pt x="13536" y="414553"/>
                    <a:pt x="5017" y="367703"/>
                    <a:pt x="759" y="306656"/>
                  </a:cubicBezTo>
                  <a:cubicBezTo>
                    <a:pt x="-4921" y="214375"/>
                    <a:pt x="22054" y="80923"/>
                    <a:pt x="56127" y="0"/>
                  </a:cubicBezTo>
                  <a:cubicBezTo>
                    <a:pt x="57547" y="0"/>
                    <a:pt x="149827" y="141970"/>
                    <a:pt x="139889" y="315174"/>
                  </a:cubicBezTo>
                  <a:close/>
                </a:path>
              </a:pathLst>
            </a:custGeom>
            <a:solidFill>
              <a:srgbClr val="32365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4" name="任意多边形: 形状 10093">
              <a:extLst>
                <a:ext uri="{FF2B5EF4-FFF2-40B4-BE49-F238E27FC236}">
                  <a16:creationId xmlns:a16="http://schemas.microsoft.com/office/drawing/2014/main" id="{32AAD862-A760-4885-A6E9-20B63E434B6C}"/>
                </a:ext>
              </a:extLst>
            </p:cNvPr>
            <p:cNvSpPr/>
            <p:nvPr userDrawn="1"/>
          </p:nvSpPr>
          <p:spPr>
            <a:xfrm>
              <a:off x="9478100" y="4209080"/>
              <a:ext cx="127773" cy="141970"/>
            </a:xfrm>
            <a:custGeom>
              <a:avLst/>
              <a:gdLst>
                <a:gd name="connsiteX0" fmla="*/ 139131 w 127773"/>
                <a:gd name="connsiteY0" fmla="*/ 8518 h 141970"/>
                <a:gd name="connsiteX1" fmla="*/ 109317 w 127773"/>
                <a:gd name="connsiteY1" fmla="*/ 134872 h 141970"/>
                <a:gd name="connsiteX2" fmla="*/ 24135 w 127773"/>
                <a:gd name="connsiteY2" fmla="*/ 122094 h 141970"/>
                <a:gd name="connsiteX3" fmla="*/ 0 w 127773"/>
                <a:gd name="connsiteY3" fmla="*/ 0 h 141970"/>
                <a:gd name="connsiteX4" fmla="*/ 139131 w 127773"/>
                <a:gd name="connsiteY4" fmla="*/ 8518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773" h="141970">
                  <a:moveTo>
                    <a:pt x="139131" y="8518"/>
                  </a:moveTo>
                  <a:cubicBezTo>
                    <a:pt x="136291" y="48270"/>
                    <a:pt x="127773" y="90861"/>
                    <a:pt x="109317" y="134872"/>
                  </a:cubicBezTo>
                  <a:cubicBezTo>
                    <a:pt x="109317" y="134872"/>
                    <a:pt x="52529" y="159007"/>
                    <a:pt x="24135" y="122094"/>
                  </a:cubicBezTo>
                  <a:cubicBezTo>
                    <a:pt x="12777" y="107897"/>
                    <a:pt x="4259" y="61047"/>
                    <a:pt x="0" y="0"/>
                  </a:cubicBezTo>
                  <a:lnTo>
                    <a:pt x="139131" y="8518"/>
                  </a:lnTo>
                  <a:close/>
                </a:path>
              </a:pathLst>
            </a:custGeom>
            <a:solidFill>
              <a:srgbClr val="32365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5" name="任意多边形: 形状 10094">
              <a:extLst>
                <a:ext uri="{FF2B5EF4-FFF2-40B4-BE49-F238E27FC236}">
                  <a16:creationId xmlns:a16="http://schemas.microsoft.com/office/drawing/2014/main" id="{95D2D11F-ADFC-4A3A-8CEF-9EF7C0CACE54}"/>
                </a:ext>
              </a:extLst>
            </p:cNvPr>
            <p:cNvSpPr/>
            <p:nvPr userDrawn="1"/>
          </p:nvSpPr>
          <p:spPr>
            <a:xfrm>
              <a:off x="10098510" y="3798400"/>
              <a:ext cx="28394" cy="28394"/>
            </a:xfrm>
            <a:custGeom>
              <a:avLst/>
              <a:gdLst>
                <a:gd name="connsiteX0" fmla="*/ 14197 w 28394"/>
                <a:gd name="connsiteY0" fmla="*/ 41558 h 28394"/>
                <a:gd name="connsiteX1" fmla="*/ 28394 w 28394"/>
                <a:gd name="connsiteY1" fmla="*/ 10324 h 28394"/>
                <a:gd name="connsiteX2" fmla="*/ 12777 w 28394"/>
                <a:gd name="connsiteY2" fmla="*/ 7485 h 28394"/>
                <a:gd name="connsiteX3" fmla="*/ 0 w 28394"/>
                <a:gd name="connsiteY3" fmla="*/ 33039 h 28394"/>
                <a:gd name="connsiteX4" fmla="*/ 14197 w 28394"/>
                <a:gd name="connsiteY4" fmla="*/ 41558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394" h="28394">
                  <a:moveTo>
                    <a:pt x="14197" y="41558"/>
                  </a:moveTo>
                  <a:cubicBezTo>
                    <a:pt x="14197" y="41558"/>
                    <a:pt x="24135" y="16003"/>
                    <a:pt x="28394" y="10324"/>
                  </a:cubicBezTo>
                  <a:cubicBezTo>
                    <a:pt x="32653" y="4645"/>
                    <a:pt x="19876" y="-8132"/>
                    <a:pt x="12777" y="7485"/>
                  </a:cubicBezTo>
                  <a:cubicBezTo>
                    <a:pt x="5679" y="23102"/>
                    <a:pt x="0" y="33039"/>
                    <a:pt x="0" y="33039"/>
                  </a:cubicBezTo>
                  <a:lnTo>
                    <a:pt x="14197" y="41558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6" name="任意多边形: 形状 10095">
              <a:extLst>
                <a:ext uri="{FF2B5EF4-FFF2-40B4-BE49-F238E27FC236}">
                  <a16:creationId xmlns:a16="http://schemas.microsoft.com/office/drawing/2014/main" id="{FD22D3CD-722B-438C-A117-DB25980771E5}"/>
                </a:ext>
              </a:extLst>
            </p:cNvPr>
            <p:cNvSpPr/>
            <p:nvPr userDrawn="1"/>
          </p:nvSpPr>
          <p:spPr>
            <a:xfrm>
              <a:off x="10025104" y="3785952"/>
              <a:ext cx="85182" cy="141970"/>
            </a:xfrm>
            <a:custGeom>
              <a:avLst/>
              <a:gdLst>
                <a:gd name="connsiteX0" fmla="*/ 91863 w 85182"/>
                <a:gd name="connsiteY0" fmla="*/ 71042 h 141970"/>
                <a:gd name="connsiteX1" fmla="*/ 80505 w 85182"/>
                <a:gd name="connsiteY1" fmla="*/ 45487 h 141970"/>
                <a:gd name="connsiteX2" fmla="*/ 23717 w 85182"/>
                <a:gd name="connsiteY2" fmla="*/ 57 h 141970"/>
                <a:gd name="connsiteX3" fmla="*/ 29396 w 85182"/>
                <a:gd name="connsiteY3" fmla="*/ 21352 h 141970"/>
                <a:gd name="connsiteX4" fmla="*/ 47852 w 85182"/>
                <a:gd name="connsiteY4" fmla="*/ 35549 h 141970"/>
                <a:gd name="connsiteX5" fmla="*/ 9520 w 85182"/>
                <a:gd name="connsiteY5" fmla="*/ 22772 h 141970"/>
                <a:gd name="connsiteX6" fmla="*/ 2421 w 85182"/>
                <a:gd name="connsiteY6" fmla="*/ 35549 h 141970"/>
                <a:gd name="connsiteX7" fmla="*/ 19458 w 85182"/>
                <a:gd name="connsiteY7" fmla="*/ 44067 h 141970"/>
                <a:gd name="connsiteX8" fmla="*/ 2421 w 85182"/>
                <a:gd name="connsiteY8" fmla="*/ 44067 h 141970"/>
                <a:gd name="connsiteX9" fmla="*/ 9520 w 85182"/>
                <a:gd name="connsiteY9" fmla="*/ 59684 h 141970"/>
                <a:gd name="connsiteX10" fmla="*/ 8100 w 85182"/>
                <a:gd name="connsiteY10" fmla="*/ 76721 h 141970"/>
                <a:gd name="connsiteX11" fmla="*/ 18038 w 85182"/>
                <a:gd name="connsiteY11" fmla="*/ 107954 h 141970"/>
                <a:gd name="connsiteX12" fmla="*/ 25137 w 85182"/>
                <a:gd name="connsiteY12" fmla="*/ 144866 h 141970"/>
                <a:gd name="connsiteX13" fmla="*/ 66308 w 85182"/>
                <a:gd name="connsiteY13" fmla="*/ 140607 h 141970"/>
                <a:gd name="connsiteX14" fmla="*/ 79085 w 85182"/>
                <a:gd name="connsiteY14" fmla="*/ 95177 h 141970"/>
                <a:gd name="connsiteX15" fmla="*/ 91863 w 85182"/>
                <a:gd name="connsiteY15" fmla="*/ 71042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5182" h="141970">
                  <a:moveTo>
                    <a:pt x="91863" y="71042"/>
                  </a:moveTo>
                  <a:cubicBezTo>
                    <a:pt x="91863" y="71042"/>
                    <a:pt x="96122" y="61104"/>
                    <a:pt x="80505" y="45487"/>
                  </a:cubicBezTo>
                  <a:cubicBezTo>
                    <a:pt x="59209" y="24192"/>
                    <a:pt x="29396" y="-1363"/>
                    <a:pt x="23717" y="57"/>
                  </a:cubicBezTo>
                  <a:cubicBezTo>
                    <a:pt x="13779" y="1476"/>
                    <a:pt x="15199" y="9995"/>
                    <a:pt x="29396" y="21352"/>
                  </a:cubicBezTo>
                  <a:cubicBezTo>
                    <a:pt x="43593" y="32710"/>
                    <a:pt x="47852" y="35549"/>
                    <a:pt x="47852" y="35549"/>
                  </a:cubicBezTo>
                  <a:cubicBezTo>
                    <a:pt x="47852" y="35549"/>
                    <a:pt x="18038" y="21352"/>
                    <a:pt x="9520" y="22772"/>
                  </a:cubicBezTo>
                  <a:cubicBezTo>
                    <a:pt x="1002" y="24192"/>
                    <a:pt x="-1838" y="32710"/>
                    <a:pt x="2421" y="35549"/>
                  </a:cubicBezTo>
                  <a:cubicBezTo>
                    <a:pt x="6681" y="38389"/>
                    <a:pt x="19458" y="44067"/>
                    <a:pt x="19458" y="44067"/>
                  </a:cubicBezTo>
                  <a:cubicBezTo>
                    <a:pt x="19458" y="44067"/>
                    <a:pt x="5261" y="39808"/>
                    <a:pt x="2421" y="44067"/>
                  </a:cubicBezTo>
                  <a:cubicBezTo>
                    <a:pt x="-418" y="48327"/>
                    <a:pt x="-3257" y="52586"/>
                    <a:pt x="9520" y="59684"/>
                  </a:cubicBezTo>
                  <a:cubicBezTo>
                    <a:pt x="9520" y="59684"/>
                    <a:pt x="-3257" y="65363"/>
                    <a:pt x="8100" y="76721"/>
                  </a:cubicBezTo>
                  <a:cubicBezTo>
                    <a:pt x="18038" y="88078"/>
                    <a:pt x="19458" y="93757"/>
                    <a:pt x="18038" y="107954"/>
                  </a:cubicBezTo>
                  <a:cubicBezTo>
                    <a:pt x="16618" y="122151"/>
                    <a:pt x="25137" y="144866"/>
                    <a:pt x="25137" y="144866"/>
                  </a:cubicBezTo>
                  <a:lnTo>
                    <a:pt x="66308" y="140607"/>
                  </a:lnTo>
                  <a:cubicBezTo>
                    <a:pt x="66308" y="140607"/>
                    <a:pt x="73406" y="103695"/>
                    <a:pt x="79085" y="95177"/>
                  </a:cubicBezTo>
                  <a:cubicBezTo>
                    <a:pt x="83345" y="86658"/>
                    <a:pt x="91863" y="71042"/>
                    <a:pt x="91863" y="7104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7" name="任意多边形: 形状 10096">
              <a:extLst>
                <a:ext uri="{FF2B5EF4-FFF2-40B4-BE49-F238E27FC236}">
                  <a16:creationId xmlns:a16="http://schemas.microsoft.com/office/drawing/2014/main" id="{0785831B-723F-48ED-B855-D06E3B277EEC}"/>
                </a:ext>
              </a:extLst>
            </p:cNvPr>
            <p:cNvSpPr/>
            <p:nvPr userDrawn="1"/>
          </p:nvSpPr>
          <p:spPr>
            <a:xfrm>
              <a:off x="9741522" y="3832859"/>
              <a:ext cx="340728" cy="312334"/>
            </a:xfrm>
            <a:custGeom>
              <a:avLst/>
              <a:gdLst>
                <a:gd name="connsiteX0" fmla="*/ 117059 w 340728"/>
                <a:gd name="connsiteY0" fmla="*/ 258386 h 312334"/>
                <a:gd name="connsiteX1" fmla="*/ 180945 w 340728"/>
                <a:gd name="connsiteY1" fmla="*/ 316594 h 312334"/>
                <a:gd name="connsiteX2" fmla="*/ 354149 w 340728"/>
                <a:gd name="connsiteY2" fmla="*/ 99379 h 312334"/>
                <a:gd name="connsiteX3" fmla="*/ 294522 w 340728"/>
                <a:gd name="connsiteY3" fmla="*/ 70985 h 312334"/>
                <a:gd name="connsiteX4" fmla="*/ 240573 w 340728"/>
                <a:gd name="connsiteY4" fmla="*/ 140550 h 312334"/>
                <a:gd name="connsiteX5" fmla="*/ 176687 w 340728"/>
                <a:gd name="connsiteY5" fmla="*/ 210116 h 312334"/>
                <a:gd name="connsiteX6" fmla="*/ 146873 w 340728"/>
                <a:gd name="connsiteY6" fmla="*/ 164685 h 312334"/>
                <a:gd name="connsiteX7" fmla="*/ 107121 w 340728"/>
                <a:gd name="connsiteY7" fmla="*/ 56788 h 312334"/>
                <a:gd name="connsiteX8" fmla="*/ 33297 w 340728"/>
                <a:gd name="connsiteY8" fmla="*/ 0 h 312334"/>
                <a:gd name="connsiteX9" fmla="*/ 88665 w 340728"/>
                <a:gd name="connsiteY9" fmla="*/ 211536 h 312334"/>
                <a:gd name="connsiteX10" fmla="*/ 117059 w 340728"/>
                <a:gd name="connsiteY10" fmla="*/ 258386 h 312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0728" h="312334">
                  <a:moveTo>
                    <a:pt x="117059" y="258386"/>
                  </a:moveTo>
                  <a:cubicBezTo>
                    <a:pt x="135515" y="286780"/>
                    <a:pt x="161070" y="316594"/>
                    <a:pt x="180945" y="316594"/>
                  </a:cubicBezTo>
                  <a:cubicBezTo>
                    <a:pt x="193723" y="316594"/>
                    <a:pt x="354149" y="109317"/>
                    <a:pt x="354149" y="99379"/>
                  </a:cubicBezTo>
                  <a:cubicBezTo>
                    <a:pt x="354149" y="88021"/>
                    <a:pt x="294522" y="70985"/>
                    <a:pt x="294522" y="70985"/>
                  </a:cubicBezTo>
                  <a:cubicBezTo>
                    <a:pt x="294522" y="70985"/>
                    <a:pt x="266128" y="119255"/>
                    <a:pt x="240573" y="140550"/>
                  </a:cubicBezTo>
                  <a:cubicBezTo>
                    <a:pt x="215018" y="161846"/>
                    <a:pt x="183785" y="205857"/>
                    <a:pt x="176687" y="210116"/>
                  </a:cubicBezTo>
                  <a:cubicBezTo>
                    <a:pt x="169588" y="214375"/>
                    <a:pt x="146873" y="164685"/>
                    <a:pt x="146873" y="164685"/>
                  </a:cubicBezTo>
                  <a:cubicBezTo>
                    <a:pt x="139774" y="140550"/>
                    <a:pt x="129836" y="96540"/>
                    <a:pt x="107121" y="56788"/>
                  </a:cubicBezTo>
                  <a:cubicBezTo>
                    <a:pt x="84406" y="17036"/>
                    <a:pt x="33297" y="0"/>
                    <a:pt x="33297" y="0"/>
                  </a:cubicBezTo>
                  <a:cubicBezTo>
                    <a:pt x="-66083" y="44011"/>
                    <a:pt x="88665" y="211536"/>
                    <a:pt x="88665" y="211536"/>
                  </a:cubicBezTo>
                  <a:cubicBezTo>
                    <a:pt x="88665" y="211536"/>
                    <a:pt x="108541" y="245608"/>
                    <a:pt x="117059" y="258386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8" name="任意多边形: 形状 10097">
              <a:extLst>
                <a:ext uri="{FF2B5EF4-FFF2-40B4-BE49-F238E27FC236}">
                  <a16:creationId xmlns:a16="http://schemas.microsoft.com/office/drawing/2014/main" id="{898B6241-34DC-47D1-8BA7-490D9801B1E9}"/>
                </a:ext>
              </a:extLst>
            </p:cNvPr>
            <p:cNvSpPr/>
            <p:nvPr userDrawn="1"/>
          </p:nvSpPr>
          <p:spPr>
            <a:xfrm>
              <a:off x="9750173" y="3791687"/>
              <a:ext cx="99379" cy="184561"/>
            </a:xfrm>
            <a:custGeom>
              <a:avLst/>
              <a:gdLst>
                <a:gd name="connsiteX0" fmla="*/ 510 w 99379"/>
                <a:gd name="connsiteY0" fmla="*/ 0 h 184561"/>
                <a:gd name="connsiteX1" fmla="*/ 104149 w 99379"/>
                <a:gd name="connsiteY1" fmla="*/ 190240 h 184561"/>
                <a:gd name="connsiteX2" fmla="*/ 7609 w 99379"/>
                <a:gd name="connsiteY2" fmla="*/ 21296 h 184561"/>
                <a:gd name="connsiteX3" fmla="*/ 510 w 99379"/>
                <a:gd name="connsiteY3" fmla="*/ 0 h 18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379" h="184561">
                  <a:moveTo>
                    <a:pt x="510" y="0"/>
                  </a:moveTo>
                  <a:cubicBezTo>
                    <a:pt x="510" y="0"/>
                    <a:pt x="78594" y="56788"/>
                    <a:pt x="104149" y="190240"/>
                  </a:cubicBezTo>
                  <a:cubicBezTo>
                    <a:pt x="104149" y="190240"/>
                    <a:pt x="31744" y="46850"/>
                    <a:pt x="7609" y="21296"/>
                  </a:cubicBezTo>
                  <a:cubicBezTo>
                    <a:pt x="7609" y="21296"/>
                    <a:pt x="-2329" y="11358"/>
                    <a:pt x="510" y="0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9" name="任意多边形: 形状 10098">
              <a:extLst>
                <a:ext uri="{FF2B5EF4-FFF2-40B4-BE49-F238E27FC236}">
                  <a16:creationId xmlns:a16="http://schemas.microsoft.com/office/drawing/2014/main" id="{FB3EAF58-86A5-4D0D-8613-62AE8462CEC9}"/>
                </a:ext>
              </a:extLst>
            </p:cNvPr>
            <p:cNvSpPr/>
            <p:nvPr userDrawn="1"/>
          </p:nvSpPr>
          <p:spPr>
            <a:xfrm>
              <a:off x="9781917" y="4014581"/>
              <a:ext cx="85182" cy="383320"/>
            </a:xfrm>
            <a:custGeom>
              <a:avLst/>
              <a:gdLst>
                <a:gd name="connsiteX0" fmla="*/ 90861 w 85182"/>
                <a:gd name="connsiteY0" fmla="*/ 0 h 383319"/>
                <a:gd name="connsiteX1" fmla="*/ 90861 w 85182"/>
                <a:gd name="connsiteY1" fmla="*/ 381900 h 383319"/>
                <a:gd name="connsiteX2" fmla="*/ 0 w 85182"/>
                <a:gd name="connsiteY2" fmla="*/ 210116 h 383319"/>
                <a:gd name="connsiteX3" fmla="*/ 90861 w 85182"/>
                <a:gd name="connsiteY3" fmla="*/ 0 h 383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182" h="383319">
                  <a:moveTo>
                    <a:pt x="90861" y="0"/>
                  </a:moveTo>
                  <a:cubicBezTo>
                    <a:pt x="90861" y="0"/>
                    <a:pt x="89441" y="310915"/>
                    <a:pt x="90861" y="381900"/>
                  </a:cubicBezTo>
                  <a:cubicBezTo>
                    <a:pt x="92281" y="452885"/>
                    <a:pt x="0" y="210116"/>
                    <a:pt x="0" y="210116"/>
                  </a:cubicBezTo>
                  <a:cubicBezTo>
                    <a:pt x="0" y="210116"/>
                    <a:pt x="48270" y="58208"/>
                    <a:pt x="90861" y="0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0" name="任意多边形: 形状 10099">
              <a:extLst>
                <a:ext uri="{FF2B5EF4-FFF2-40B4-BE49-F238E27FC236}">
                  <a16:creationId xmlns:a16="http://schemas.microsoft.com/office/drawing/2014/main" id="{2D2C6A4F-F71B-4302-A801-4861C9B94138}"/>
                </a:ext>
              </a:extLst>
            </p:cNvPr>
            <p:cNvSpPr/>
            <p:nvPr userDrawn="1"/>
          </p:nvSpPr>
          <p:spPr>
            <a:xfrm>
              <a:off x="9463903" y="4583881"/>
              <a:ext cx="383320" cy="241349"/>
            </a:xfrm>
            <a:custGeom>
              <a:avLst/>
              <a:gdLst>
                <a:gd name="connsiteX0" fmla="*/ 0 w 383319"/>
                <a:gd name="connsiteY0" fmla="*/ 177463 h 241349"/>
                <a:gd name="connsiteX1" fmla="*/ 357765 w 383319"/>
                <a:gd name="connsiteY1" fmla="*/ 231411 h 241349"/>
                <a:gd name="connsiteX2" fmla="*/ 231411 w 383319"/>
                <a:gd name="connsiteY2" fmla="*/ 0 h 241349"/>
                <a:gd name="connsiteX3" fmla="*/ 0 w 383319"/>
                <a:gd name="connsiteY3" fmla="*/ 177463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319" h="241349">
                  <a:moveTo>
                    <a:pt x="0" y="177463"/>
                  </a:moveTo>
                  <a:cubicBezTo>
                    <a:pt x="0" y="177463"/>
                    <a:pt x="222893" y="153328"/>
                    <a:pt x="357765" y="231411"/>
                  </a:cubicBezTo>
                  <a:cubicBezTo>
                    <a:pt x="494056" y="309495"/>
                    <a:pt x="231411" y="0"/>
                    <a:pt x="231411" y="0"/>
                  </a:cubicBezTo>
                  <a:cubicBezTo>
                    <a:pt x="231411" y="0"/>
                    <a:pt x="2839" y="89441"/>
                    <a:pt x="0" y="177463"/>
                  </a:cubicBezTo>
                  <a:close/>
                </a:path>
              </a:pathLst>
            </a:custGeom>
            <a:solidFill>
              <a:srgbClr val="C2B2A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1" name="任意多边形: 形状 10100">
              <a:extLst>
                <a:ext uri="{FF2B5EF4-FFF2-40B4-BE49-F238E27FC236}">
                  <a16:creationId xmlns:a16="http://schemas.microsoft.com/office/drawing/2014/main" id="{7FDC8156-51D2-4A0E-A11D-3F358FA2BE28}"/>
                </a:ext>
              </a:extLst>
            </p:cNvPr>
            <p:cNvSpPr/>
            <p:nvPr userDrawn="1"/>
          </p:nvSpPr>
          <p:spPr>
            <a:xfrm>
              <a:off x="9874074" y="5405961"/>
              <a:ext cx="212955" cy="156167"/>
            </a:xfrm>
            <a:custGeom>
              <a:avLst/>
              <a:gdLst>
                <a:gd name="connsiteX0" fmla="*/ 68268 w 212955"/>
                <a:gd name="connsiteY0" fmla="*/ 31161 h 156167"/>
                <a:gd name="connsiteX1" fmla="*/ 96662 w 212955"/>
                <a:gd name="connsiteY1" fmla="*/ 69493 h 156167"/>
                <a:gd name="connsiteX2" fmla="*/ 164808 w 212955"/>
                <a:gd name="connsiteY2" fmla="*/ 113503 h 156167"/>
                <a:gd name="connsiteX3" fmla="*/ 217337 w 212955"/>
                <a:gd name="connsiteY3" fmla="*/ 137638 h 156167"/>
                <a:gd name="connsiteX4" fmla="*/ 143513 w 212955"/>
                <a:gd name="connsiteY4" fmla="*/ 163193 h 156167"/>
                <a:gd name="connsiteX5" fmla="*/ 4382 w 212955"/>
                <a:gd name="connsiteY5" fmla="*/ 120602 h 156167"/>
                <a:gd name="connsiteX6" fmla="*/ 12900 w 212955"/>
                <a:gd name="connsiteY6" fmla="*/ 11285 h 156167"/>
                <a:gd name="connsiteX7" fmla="*/ 68268 w 212955"/>
                <a:gd name="connsiteY7" fmla="*/ 31161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955" h="156167">
                  <a:moveTo>
                    <a:pt x="68268" y="31161"/>
                  </a:moveTo>
                  <a:cubicBezTo>
                    <a:pt x="68268" y="31161"/>
                    <a:pt x="79626" y="62394"/>
                    <a:pt x="96662" y="69493"/>
                  </a:cubicBezTo>
                  <a:cubicBezTo>
                    <a:pt x="113699" y="76591"/>
                    <a:pt x="150611" y="110664"/>
                    <a:pt x="164808" y="113503"/>
                  </a:cubicBezTo>
                  <a:cubicBezTo>
                    <a:pt x="179005" y="116343"/>
                    <a:pt x="215917" y="119182"/>
                    <a:pt x="217337" y="137638"/>
                  </a:cubicBezTo>
                  <a:cubicBezTo>
                    <a:pt x="218757" y="156094"/>
                    <a:pt x="215917" y="173131"/>
                    <a:pt x="143513" y="163193"/>
                  </a:cubicBezTo>
                  <a:cubicBezTo>
                    <a:pt x="71108" y="153255"/>
                    <a:pt x="4382" y="120602"/>
                    <a:pt x="4382" y="120602"/>
                  </a:cubicBezTo>
                  <a:cubicBezTo>
                    <a:pt x="4382" y="120602"/>
                    <a:pt x="-9815" y="48197"/>
                    <a:pt x="12900" y="11285"/>
                  </a:cubicBezTo>
                  <a:cubicBezTo>
                    <a:pt x="35615" y="-22788"/>
                    <a:pt x="68268" y="31161"/>
                    <a:pt x="68268" y="31161"/>
                  </a:cubicBezTo>
                  <a:close/>
                </a:path>
              </a:pathLst>
            </a:custGeom>
            <a:solidFill>
              <a:srgbClr val="292C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2" name="任意多边形: 形状 10101">
              <a:extLst>
                <a:ext uri="{FF2B5EF4-FFF2-40B4-BE49-F238E27FC236}">
                  <a16:creationId xmlns:a16="http://schemas.microsoft.com/office/drawing/2014/main" id="{CC84A1A6-C76D-4A1F-81CD-3A70A0D96363}"/>
                </a:ext>
              </a:extLst>
            </p:cNvPr>
            <p:cNvSpPr/>
            <p:nvPr userDrawn="1"/>
          </p:nvSpPr>
          <p:spPr>
            <a:xfrm>
              <a:off x="9878437" y="5391692"/>
              <a:ext cx="56788" cy="56788"/>
            </a:xfrm>
            <a:custGeom>
              <a:avLst/>
              <a:gdLst>
                <a:gd name="connsiteX0" fmla="*/ 63906 w 56788"/>
                <a:gd name="connsiteY0" fmla="*/ 45430 h 56788"/>
                <a:gd name="connsiteX1" fmla="*/ 51129 w 56788"/>
                <a:gd name="connsiteY1" fmla="*/ 0 h 56788"/>
                <a:gd name="connsiteX2" fmla="*/ 19 w 56788"/>
                <a:gd name="connsiteY2" fmla="*/ 0 h 56788"/>
                <a:gd name="connsiteX3" fmla="*/ 19 w 56788"/>
                <a:gd name="connsiteY3" fmla="*/ 48270 h 56788"/>
                <a:gd name="connsiteX4" fmla="*/ 63906 w 56788"/>
                <a:gd name="connsiteY4" fmla="*/ 4543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88" h="56788">
                  <a:moveTo>
                    <a:pt x="63906" y="45430"/>
                  </a:moveTo>
                  <a:lnTo>
                    <a:pt x="51129" y="0"/>
                  </a:lnTo>
                  <a:lnTo>
                    <a:pt x="19" y="0"/>
                  </a:lnTo>
                  <a:lnTo>
                    <a:pt x="19" y="48270"/>
                  </a:lnTo>
                  <a:cubicBezTo>
                    <a:pt x="-1401" y="48270"/>
                    <a:pt x="76683" y="78084"/>
                    <a:pt x="63906" y="45430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3" name="任意多边形: 形状 10102">
              <a:extLst>
                <a:ext uri="{FF2B5EF4-FFF2-40B4-BE49-F238E27FC236}">
                  <a16:creationId xmlns:a16="http://schemas.microsoft.com/office/drawing/2014/main" id="{753E0AC5-0049-4779-97D9-D8CE0551026B}"/>
                </a:ext>
              </a:extLst>
            </p:cNvPr>
            <p:cNvSpPr/>
            <p:nvPr userDrawn="1"/>
          </p:nvSpPr>
          <p:spPr>
            <a:xfrm>
              <a:off x="9417609" y="5327115"/>
              <a:ext cx="156167" cy="198758"/>
            </a:xfrm>
            <a:custGeom>
              <a:avLst/>
              <a:gdLst>
                <a:gd name="connsiteX0" fmla="*/ 73269 w 156167"/>
                <a:gd name="connsiteY0" fmla="*/ 26245 h 198758"/>
                <a:gd name="connsiteX1" fmla="*/ 86046 w 156167"/>
                <a:gd name="connsiteY1" fmla="*/ 68836 h 198758"/>
                <a:gd name="connsiteX2" fmla="*/ 121539 w 156167"/>
                <a:gd name="connsiteY2" fmla="*/ 139821 h 198758"/>
                <a:gd name="connsiteX3" fmla="*/ 165550 w 156167"/>
                <a:gd name="connsiteY3" fmla="*/ 205127 h 198758"/>
                <a:gd name="connsiteX4" fmla="*/ 37776 w 156167"/>
                <a:gd name="connsiteY4" fmla="*/ 148339 h 198758"/>
                <a:gd name="connsiteX5" fmla="*/ 864 w 156167"/>
                <a:gd name="connsiteY5" fmla="*/ 75934 h 198758"/>
                <a:gd name="connsiteX6" fmla="*/ 33517 w 156167"/>
                <a:gd name="connsiteY6" fmla="*/ 690 h 198758"/>
                <a:gd name="connsiteX7" fmla="*/ 73269 w 156167"/>
                <a:gd name="connsiteY7" fmla="*/ 26245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167" h="198758">
                  <a:moveTo>
                    <a:pt x="73269" y="26245"/>
                  </a:moveTo>
                  <a:cubicBezTo>
                    <a:pt x="73269" y="26245"/>
                    <a:pt x="78948" y="58898"/>
                    <a:pt x="86046" y="68836"/>
                  </a:cubicBezTo>
                  <a:cubicBezTo>
                    <a:pt x="94564" y="78774"/>
                    <a:pt x="105922" y="125624"/>
                    <a:pt x="121539" y="139821"/>
                  </a:cubicBezTo>
                  <a:cubicBezTo>
                    <a:pt x="137156" y="155438"/>
                    <a:pt x="178327" y="188091"/>
                    <a:pt x="165550" y="205127"/>
                  </a:cubicBezTo>
                  <a:cubicBezTo>
                    <a:pt x="152772" y="222164"/>
                    <a:pt x="67590" y="200868"/>
                    <a:pt x="37776" y="148339"/>
                  </a:cubicBezTo>
                  <a:cubicBezTo>
                    <a:pt x="7963" y="95810"/>
                    <a:pt x="-3395" y="90131"/>
                    <a:pt x="864" y="75934"/>
                  </a:cubicBezTo>
                  <a:cubicBezTo>
                    <a:pt x="5123" y="61737"/>
                    <a:pt x="33517" y="7789"/>
                    <a:pt x="33517" y="690"/>
                  </a:cubicBezTo>
                  <a:cubicBezTo>
                    <a:pt x="33517" y="-4989"/>
                    <a:pt x="73269" y="26245"/>
                    <a:pt x="73269" y="26245"/>
                  </a:cubicBezTo>
                  <a:close/>
                </a:path>
              </a:pathLst>
            </a:custGeom>
            <a:solidFill>
              <a:srgbClr val="292C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4" name="任意多边形: 形状 10103">
              <a:extLst>
                <a:ext uri="{FF2B5EF4-FFF2-40B4-BE49-F238E27FC236}">
                  <a16:creationId xmlns:a16="http://schemas.microsoft.com/office/drawing/2014/main" id="{D4FB78D9-1C60-48C8-9A2C-1EE50A70C65A}"/>
                </a:ext>
              </a:extLst>
            </p:cNvPr>
            <p:cNvSpPr/>
            <p:nvPr userDrawn="1"/>
          </p:nvSpPr>
          <p:spPr>
            <a:xfrm>
              <a:off x="9451126" y="5289473"/>
              <a:ext cx="42591" cy="56788"/>
            </a:xfrm>
            <a:custGeom>
              <a:avLst/>
              <a:gdLst>
                <a:gd name="connsiteX0" fmla="*/ 52529 w 42591"/>
                <a:gd name="connsiteY0" fmla="*/ 39752 h 56788"/>
                <a:gd name="connsiteX1" fmla="*/ 39752 w 42591"/>
                <a:gd name="connsiteY1" fmla="*/ 62467 h 56788"/>
                <a:gd name="connsiteX2" fmla="*/ 4259 w 42591"/>
                <a:gd name="connsiteY2" fmla="*/ 55368 h 56788"/>
                <a:gd name="connsiteX3" fmla="*/ 0 w 42591"/>
                <a:gd name="connsiteY3" fmla="*/ 36912 h 56788"/>
                <a:gd name="connsiteX4" fmla="*/ 12778 w 42591"/>
                <a:gd name="connsiteY4" fmla="*/ 0 h 56788"/>
                <a:gd name="connsiteX5" fmla="*/ 52529 w 42591"/>
                <a:gd name="connsiteY5" fmla="*/ 39752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591" h="56788">
                  <a:moveTo>
                    <a:pt x="52529" y="39752"/>
                  </a:moveTo>
                  <a:cubicBezTo>
                    <a:pt x="52529" y="39752"/>
                    <a:pt x="42591" y="53949"/>
                    <a:pt x="39752" y="62467"/>
                  </a:cubicBezTo>
                  <a:cubicBezTo>
                    <a:pt x="36912" y="70985"/>
                    <a:pt x="18456" y="73824"/>
                    <a:pt x="4259" y="55368"/>
                  </a:cubicBezTo>
                  <a:cubicBezTo>
                    <a:pt x="4259" y="55368"/>
                    <a:pt x="0" y="48270"/>
                    <a:pt x="0" y="36912"/>
                  </a:cubicBezTo>
                  <a:cubicBezTo>
                    <a:pt x="0" y="25555"/>
                    <a:pt x="12778" y="0"/>
                    <a:pt x="12778" y="0"/>
                  </a:cubicBezTo>
                  <a:lnTo>
                    <a:pt x="52529" y="39752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5" name="任意多边形: 形状 10104">
              <a:extLst>
                <a:ext uri="{FF2B5EF4-FFF2-40B4-BE49-F238E27FC236}">
                  <a16:creationId xmlns:a16="http://schemas.microsoft.com/office/drawing/2014/main" id="{A2040D72-A21D-44D0-BD31-9311DBA9FDCA}"/>
                </a:ext>
              </a:extLst>
            </p:cNvPr>
            <p:cNvSpPr/>
            <p:nvPr userDrawn="1"/>
          </p:nvSpPr>
          <p:spPr>
            <a:xfrm>
              <a:off x="9695024" y="4355406"/>
              <a:ext cx="241349" cy="1078974"/>
            </a:xfrm>
            <a:custGeom>
              <a:avLst/>
              <a:gdLst>
                <a:gd name="connsiteX0" fmla="*/ 21586 w 241349"/>
                <a:gd name="connsiteY0" fmla="*/ 236993 h 1078973"/>
                <a:gd name="connsiteX1" fmla="*/ 59918 w 241349"/>
                <a:gd name="connsiteY1" fmla="*/ 364766 h 1078973"/>
                <a:gd name="connsiteX2" fmla="*/ 59918 w 241349"/>
                <a:gd name="connsiteY2" fmla="*/ 364766 h 1078973"/>
                <a:gd name="connsiteX3" fmla="*/ 76954 w 241349"/>
                <a:gd name="connsiteY3" fmla="*/ 417295 h 1078973"/>
                <a:gd name="connsiteX4" fmla="*/ 108188 w 241349"/>
                <a:gd name="connsiteY4" fmla="*/ 518094 h 1078973"/>
                <a:gd name="connsiteX5" fmla="*/ 116706 w 241349"/>
                <a:gd name="connsiteY5" fmla="*/ 550747 h 1078973"/>
                <a:gd name="connsiteX6" fmla="*/ 111027 w 241349"/>
                <a:gd name="connsiteY6" fmla="*/ 726790 h 1078973"/>
                <a:gd name="connsiteX7" fmla="*/ 170655 w 241349"/>
                <a:gd name="connsiteY7" fmla="*/ 1077457 h 1078973"/>
                <a:gd name="connsiteX8" fmla="*/ 252997 w 241349"/>
                <a:gd name="connsiteY8" fmla="*/ 1066099 h 1078973"/>
                <a:gd name="connsiteX9" fmla="*/ 233121 w 241349"/>
                <a:gd name="connsiteY9" fmla="*/ 658645 h 1078973"/>
                <a:gd name="connsiteX10" fmla="*/ 237381 w 241349"/>
                <a:gd name="connsiteY10" fmla="*/ 546488 h 1078973"/>
                <a:gd name="connsiteX11" fmla="*/ 235961 w 241349"/>
                <a:gd name="connsiteY11" fmla="*/ 526612 h 1078973"/>
                <a:gd name="connsiteX12" fmla="*/ 245899 w 241349"/>
                <a:gd name="connsiteY12" fmla="*/ 384642 h 1078973"/>
                <a:gd name="connsiteX13" fmla="*/ 218924 w 241349"/>
                <a:gd name="connsiteY13" fmla="*/ 116318 h 1078973"/>
                <a:gd name="connsiteX14" fmla="*/ 217505 w 241349"/>
                <a:gd name="connsiteY14" fmla="*/ 110640 h 1078973"/>
                <a:gd name="connsiteX15" fmla="*/ 186271 w 241349"/>
                <a:gd name="connsiteY15" fmla="*/ 14100 h 1078973"/>
                <a:gd name="connsiteX16" fmla="*/ 74115 w 241349"/>
                <a:gd name="connsiteY16" fmla="*/ 2742 h 1078973"/>
                <a:gd name="connsiteX17" fmla="*/ 8809 w 241349"/>
                <a:gd name="connsiteY17" fmla="*/ 59530 h 1078973"/>
                <a:gd name="connsiteX18" fmla="*/ 21586 w 241349"/>
                <a:gd name="connsiteY18" fmla="*/ 236993 h 107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1349" h="1078973">
                  <a:moveTo>
                    <a:pt x="21586" y="236993"/>
                  </a:moveTo>
                  <a:cubicBezTo>
                    <a:pt x="24426" y="249770"/>
                    <a:pt x="41462" y="303719"/>
                    <a:pt x="59918" y="364766"/>
                  </a:cubicBezTo>
                  <a:cubicBezTo>
                    <a:pt x="59918" y="364766"/>
                    <a:pt x="59918" y="364766"/>
                    <a:pt x="59918" y="364766"/>
                  </a:cubicBezTo>
                  <a:cubicBezTo>
                    <a:pt x="65597" y="381803"/>
                    <a:pt x="71276" y="400259"/>
                    <a:pt x="76954" y="417295"/>
                  </a:cubicBezTo>
                  <a:cubicBezTo>
                    <a:pt x="89731" y="455627"/>
                    <a:pt x="101089" y="491120"/>
                    <a:pt x="108188" y="518094"/>
                  </a:cubicBezTo>
                  <a:cubicBezTo>
                    <a:pt x="112447" y="532291"/>
                    <a:pt x="115286" y="543649"/>
                    <a:pt x="116706" y="550747"/>
                  </a:cubicBezTo>
                  <a:cubicBezTo>
                    <a:pt x="128064" y="596178"/>
                    <a:pt x="115286" y="667163"/>
                    <a:pt x="111027" y="726790"/>
                  </a:cubicBezTo>
                  <a:cubicBezTo>
                    <a:pt x="106768" y="786418"/>
                    <a:pt x="170655" y="1077457"/>
                    <a:pt x="170655" y="1077457"/>
                  </a:cubicBezTo>
                  <a:cubicBezTo>
                    <a:pt x="186271" y="1084555"/>
                    <a:pt x="252997" y="1066099"/>
                    <a:pt x="252997" y="1066099"/>
                  </a:cubicBezTo>
                  <a:cubicBezTo>
                    <a:pt x="241640" y="1044804"/>
                    <a:pt x="227443" y="681360"/>
                    <a:pt x="233121" y="658645"/>
                  </a:cubicBezTo>
                  <a:cubicBezTo>
                    <a:pt x="238800" y="635929"/>
                    <a:pt x="243060" y="570623"/>
                    <a:pt x="237381" y="546488"/>
                  </a:cubicBezTo>
                  <a:cubicBezTo>
                    <a:pt x="235961" y="540809"/>
                    <a:pt x="235961" y="535130"/>
                    <a:pt x="235961" y="526612"/>
                  </a:cubicBezTo>
                  <a:cubicBezTo>
                    <a:pt x="235961" y="495379"/>
                    <a:pt x="241640" y="442850"/>
                    <a:pt x="245899" y="384642"/>
                  </a:cubicBezTo>
                  <a:cubicBezTo>
                    <a:pt x="251578" y="312237"/>
                    <a:pt x="223184" y="131935"/>
                    <a:pt x="218924" y="116318"/>
                  </a:cubicBezTo>
                  <a:cubicBezTo>
                    <a:pt x="218924" y="114899"/>
                    <a:pt x="217505" y="112059"/>
                    <a:pt x="217505" y="110640"/>
                  </a:cubicBezTo>
                  <a:cubicBezTo>
                    <a:pt x="210406" y="85085"/>
                    <a:pt x="186271" y="14100"/>
                    <a:pt x="186271" y="14100"/>
                  </a:cubicBezTo>
                  <a:cubicBezTo>
                    <a:pt x="138002" y="-97"/>
                    <a:pt x="101089" y="-2937"/>
                    <a:pt x="74115" y="2742"/>
                  </a:cubicBezTo>
                  <a:cubicBezTo>
                    <a:pt x="38623" y="9841"/>
                    <a:pt x="18746" y="31136"/>
                    <a:pt x="8809" y="59530"/>
                  </a:cubicBezTo>
                  <a:cubicBezTo>
                    <a:pt x="-15326" y="120577"/>
                    <a:pt x="17327" y="219957"/>
                    <a:pt x="21586" y="236993"/>
                  </a:cubicBezTo>
                  <a:close/>
                </a:path>
              </a:pathLst>
            </a:custGeom>
            <a:solidFill>
              <a:srgbClr val="292C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6" name="任意多边形: 形状 10105">
              <a:extLst>
                <a:ext uri="{FF2B5EF4-FFF2-40B4-BE49-F238E27FC236}">
                  <a16:creationId xmlns:a16="http://schemas.microsoft.com/office/drawing/2014/main" id="{57D8D695-A82D-47E5-8ECD-ADCA0C9617C7}"/>
                </a:ext>
              </a:extLst>
            </p:cNvPr>
            <p:cNvSpPr/>
            <p:nvPr userDrawn="1"/>
          </p:nvSpPr>
          <p:spPr>
            <a:xfrm>
              <a:off x="9441188" y="4302582"/>
              <a:ext cx="326531" cy="1036383"/>
            </a:xfrm>
            <a:custGeom>
              <a:avLst/>
              <a:gdLst>
                <a:gd name="connsiteX0" fmla="*/ 0 w 326531"/>
                <a:gd name="connsiteY0" fmla="*/ 1018125 h 1036382"/>
                <a:gd name="connsiteX1" fmla="*/ 66726 w 326531"/>
                <a:gd name="connsiteY1" fmla="*/ 1046519 h 1036382"/>
                <a:gd name="connsiteX2" fmla="*/ 271163 w 326531"/>
                <a:gd name="connsiteY2" fmla="*/ 695852 h 1036382"/>
                <a:gd name="connsiteX3" fmla="*/ 296718 w 326531"/>
                <a:gd name="connsiteY3" fmla="*/ 582276 h 1036382"/>
                <a:gd name="connsiteX4" fmla="*/ 298137 w 326531"/>
                <a:gd name="connsiteY4" fmla="*/ 562400 h 1036382"/>
                <a:gd name="connsiteX5" fmla="*/ 315174 w 326531"/>
                <a:gd name="connsiteY5" fmla="*/ 416171 h 1036382"/>
                <a:gd name="connsiteX6" fmla="*/ 320853 w 326531"/>
                <a:gd name="connsiteY6" fmla="*/ 390616 h 1036382"/>
                <a:gd name="connsiteX7" fmla="*/ 332210 w 326531"/>
                <a:gd name="connsiteY7" fmla="*/ 118034 h 1036382"/>
                <a:gd name="connsiteX8" fmla="*/ 332210 w 326531"/>
                <a:gd name="connsiteY8" fmla="*/ 54147 h 1036382"/>
                <a:gd name="connsiteX9" fmla="*/ 329371 w 326531"/>
                <a:gd name="connsiteY9" fmla="*/ 52727 h 1036382"/>
                <a:gd name="connsiteX10" fmla="*/ 151908 w 326531"/>
                <a:gd name="connsiteY10" fmla="*/ 32852 h 1036382"/>
                <a:gd name="connsiteX11" fmla="*/ 129193 w 326531"/>
                <a:gd name="connsiteY11" fmla="*/ 99578 h 1036382"/>
                <a:gd name="connsiteX12" fmla="*/ 116415 w 326531"/>
                <a:gd name="connsiteY12" fmla="*/ 336668 h 1036382"/>
                <a:gd name="connsiteX13" fmla="*/ 159006 w 326531"/>
                <a:gd name="connsiteY13" fmla="*/ 535426 h 1036382"/>
                <a:gd name="connsiteX14" fmla="*/ 164686 w 326531"/>
                <a:gd name="connsiteY14" fmla="*/ 623448 h 1036382"/>
                <a:gd name="connsiteX15" fmla="*/ 72405 w 326531"/>
                <a:gd name="connsiteY15" fmla="*/ 839242 h 1036382"/>
                <a:gd name="connsiteX16" fmla="*/ 0 w 326531"/>
                <a:gd name="connsiteY16" fmla="*/ 1018125 h 10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26531" h="1036382">
                  <a:moveTo>
                    <a:pt x="0" y="1018125"/>
                  </a:moveTo>
                  <a:lnTo>
                    <a:pt x="66726" y="1046519"/>
                  </a:lnTo>
                  <a:cubicBezTo>
                    <a:pt x="75244" y="1006767"/>
                    <a:pt x="259805" y="727086"/>
                    <a:pt x="271163" y="695852"/>
                  </a:cubicBezTo>
                  <a:cubicBezTo>
                    <a:pt x="283940" y="664619"/>
                    <a:pt x="296718" y="604991"/>
                    <a:pt x="296718" y="582276"/>
                  </a:cubicBezTo>
                  <a:cubicBezTo>
                    <a:pt x="296718" y="578017"/>
                    <a:pt x="296718" y="572338"/>
                    <a:pt x="298137" y="562400"/>
                  </a:cubicBezTo>
                  <a:cubicBezTo>
                    <a:pt x="300977" y="528328"/>
                    <a:pt x="306656" y="465861"/>
                    <a:pt x="315174" y="416171"/>
                  </a:cubicBezTo>
                  <a:cubicBezTo>
                    <a:pt x="316593" y="407653"/>
                    <a:pt x="318013" y="397715"/>
                    <a:pt x="320853" y="390616"/>
                  </a:cubicBezTo>
                  <a:cubicBezTo>
                    <a:pt x="330790" y="348025"/>
                    <a:pt x="332210" y="203216"/>
                    <a:pt x="332210" y="118034"/>
                  </a:cubicBezTo>
                  <a:cubicBezTo>
                    <a:pt x="332210" y="79702"/>
                    <a:pt x="332210" y="54147"/>
                    <a:pt x="332210" y="54147"/>
                  </a:cubicBezTo>
                  <a:cubicBezTo>
                    <a:pt x="332210" y="54147"/>
                    <a:pt x="330790" y="54147"/>
                    <a:pt x="329371" y="52727"/>
                  </a:cubicBezTo>
                  <a:cubicBezTo>
                    <a:pt x="310915" y="38530"/>
                    <a:pt x="193080" y="-45232"/>
                    <a:pt x="151908" y="32852"/>
                  </a:cubicBezTo>
                  <a:cubicBezTo>
                    <a:pt x="140550" y="54147"/>
                    <a:pt x="133452" y="76862"/>
                    <a:pt x="129193" y="99578"/>
                  </a:cubicBezTo>
                  <a:cubicBezTo>
                    <a:pt x="116415" y="170563"/>
                    <a:pt x="106478" y="262843"/>
                    <a:pt x="116415" y="336668"/>
                  </a:cubicBezTo>
                  <a:cubicBezTo>
                    <a:pt x="124934" y="399135"/>
                    <a:pt x="144809" y="470120"/>
                    <a:pt x="159006" y="535426"/>
                  </a:cubicBezTo>
                  <a:cubicBezTo>
                    <a:pt x="166105" y="570919"/>
                    <a:pt x="173203" y="609251"/>
                    <a:pt x="164686" y="623448"/>
                  </a:cubicBezTo>
                  <a:cubicBezTo>
                    <a:pt x="141970" y="663199"/>
                    <a:pt x="119255" y="697272"/>
                    <a:pt x="72405" y="839242"/>
                  </a:cubicBezTo>
                  <a:cubicBezTo>
                    <a:pt x="56788" y="884673"/>
                    <a:pt x="0" y="1018125"/>
                    <a:pt x="0" y="1018125"/>
                  </a:cubicBezTo>
                  <a:close/>
                </a:path>
              </a:pathLst>
            </a:custGeom>
            <a:solidFill>
              <a:srgbClr val="292C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7" name="任意多边形: 形状 10106">
              <a:extLst>
                <a:ext uri="{FF2B5EF4-FFF2-40B4-BE49-F238E27FC236}">
                  <a16:creationId xmlns:a16="http://schemas.microsoft.com/office/drawing/2014/main" id="{E595D42A-475F-4824-8919-89CAC237D951}"/>
                </a:ext>
              </a:extLst>
            </p:cNvPr>
            <p:cNvSpPr/>
            <p:nvPr userDrawn="1"/>
          </p:nvSpPr>
          <p:spPr>
            <a:xfrm>
              <a:off x="9543406" y="3798786"/>
              <a:ext cx="369123" cy="709851"/>
            </a:xfrm>
            <a:custGeom>
              <a:avLst/>
              <a:gdLst>
                <a:gd name="connsiteX0" fmla="*/ 68146 w 369122"/>
                <a:gd name="connsiteY0" fmla="*/ 413133 h 709851"/>
                <a:gd name="connsiteX1" fmla="*/ 4259 w 369122"/>
                <a:gd name="connsiteY1" fmla="*/ 682877 h 709851"/>
                <a:gd name="connsiteX2" fmla="*/ 119255 w 369122"/>
                <a:gd name="connsiteY2" fmla="*/ 707012 h 709851"/>
                <a:gd name="connsiteX3" fmla="*/ 369123 w 369122"/>
                <a:gd name="connsiteY3" fmla="*/ 664421 h 709851"/>
                <a:gd name="connsiteX4" fmla="*/ 369123 w 369122"/>
                <a:gd name="connsiteY4" fmla="*/ 664421 h 709851"/>
                <a:gd name="connsiteX5" fmla="*/ 310915 w 369122"/>
                <a:gd name="connsiteY5" fmla="*/ 435849 h 709851"/>
                <a:gd name="connsiteX6" fmla="*/ 318014 w 369122"/>
                <a:gd name="connsiteY6" fmla="*/ 299557 h 709851"/>
                <a:gd name="connsiteX7" fmla="*/ 327951 w 369122"/>
                <a:gd name="connsiteY7" fmla="*/ 262645 h 709851"/>
                <a:gd name="connsiteX8" fmla="*/ 327951 w 369122"/>
                <a:gd name="connsiteY8" fmla="*/ 262645 h 709851"/>
                <a:gd name="connsiteX9" fmla="*/ 344988 w 369122"/>
                <a:gd name="connsiteY9" fmla="*/ 195919 h 709851"/>
                <a:gd name="connsiteX10" fmla="*/ 336470 w 369122"/>
                <a:gd name="connsiteY10" fmla="*/ 161846 h 709851"/>
                <a:gd name="connsiteX11" fmla="*/ 336470 w 369122"/>
                <a:gd name="connsiteY11" fmla="*/ 161846 h 709851"/>
                <a:gd name="connsiteX12" fmla="*/ 313754 w 369122"/>
                <a:gd name="connsiteY12" fmla="*/ 122094 h 709851"/>
                <a:gd name="connsiteX13" fmla="*/ 296718 w 369122"/>
                <a:gd name="connsiteY13" fmla="*/ 96540 h 709851"/>
                <a:gd name="connsiteX14" fmla="*/ 251287 w 369122"/>
                <a:gd name="connsiteY14" fmla="*/ 36912 h 709851"/>
                <a:gd name="connsiteX15" fmla="*/ 232831 w 369122"/>
                <a:gd name="connsiteY15" fmla="*/ 22715 h 709851"/>
                <a:gd name="connsiteX16" fmla="*/ 232831 w 369122"/>
                <a:gd name="connsiteY16" fmla="*/ 22715 h 709851"/>
                <a:gd name="connsiteX17" fmla="*/ 215795 w 369122"/>
                <a:gd name="connsiteY17" fmla="*/ 12777 h 709851"/>
                <a:gd name="connsiteX18" fmla="*/ 215795 w 369122"/>
                <a:gd name="connsiteY18" fmla="*/ 12777 h 709851"/>
                <a:gd name="connsiteX19" fmla="*/ 214375 w 369122"/>
                <a:gd name="connsiteY19" fmla="*/ 12777 h 709851"/>
                <a:gd name="connsiteX20" fmla="*/ 134872 w 369122"/>
                <a:gd name="connsiteY20" fmla="*/ 0 h 709851"/>
                <a:gd name="connsiteX21" fmla="*/ 114996 w 369122"/>
                <a:gd name="connsiteY21" fmla="*/ 7099 h 709851"/>
                <a:gd name="connsiteX22" fmla="*/ 63887 w 369122"/>
                <a:gd name="connsiteY22" fmla="*/ 22715 h 709851"/>
                <a:gd name="connsiteX23" fmla="*/ 63887 w 369122"/>
                <a:gd name="connsiteY23" fmla="*/ 22715 h 709851"/>
                <a:gd name="connsiteX24" fmla="*/ 56788 w 369122"/>
                <a:gd name="connsiteY24" fmla="*/ 24135 h 709851"/>
                <a:gd name="connsiteX25" fmla="*/ 28394 w 369122"/>
                <a:gd name="connsiteY25" fmla="*/ 45430 h 709851"/>
                <a:gd name="connsiteX26" fmla="*/ 0 w 369122"/>
                <a:gd name="connsiteY26" fmla="*/ 137711 h 709851"/>
                <a:gd name="connsiteX27" fmla="*/ 59628 w 369122"/>
                <a:gd name="connsiteY27" fmla="*/ 325112 h 709851"/>
                <a:gd name="connsiteX28" fmla="*/ 68146 w 369122"/>
                <a:gd name="connsiteY28" fmla="*/ 413133 h 709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69122" h="709851">
                  <a:moveTo>
                    <a:pt x="68146" y="413133"/>
                  </a:moveTo>
                  <a:cubicBezTo>
                    <a:pt x="56788" y="455724"/>
                    <a:pt x="2840" y="670099"/>
                    <a:pt x="4259" y="682877"/>
                  </a:cubicBezTo>
                  <a:cubicBezTo>
                    <a:pt x="4259" y="687136"/>
                    <a:pt x="63887" y="697074"/>
                    <a:pt x="119255" y="707012"/>
                  </a:cubicBezTo>
                  <a:cubicBezTo>
                    <a:pt x="210116" y="722628"/>
                    <a:pt x="329371" y="688556"/>
                    <a:pt x="369123" y="664421"/>
                  </a:cubicBezTo>
                  <a:cubicBezTo>
                    <a:pt x="369123" y="664421"/>
                    <a:pt x="369123" y="664421"/>
                    <a:pt x="369123" y="664421"/>
                  </a:cubicBezTo>
                  <a:cubicBezTo>
                    <a:pt x="367703" y="661581"/>
                    <a:pt x="313754" y="459984"/>
                    <a:pt x="310915" y="435849"/>
                  </a:cubicBezTo>
                  <a:cubicBezTo>
                    <a:pt x="306656" y="411714"/>
                    <a:pt x="315174" y="325112"/>
                    <a:pt x="318014" y="299557"/>
                  </a:cubicBezTo>
                  <a:cubicBezTo>
                    <a:pt x="319433" y="291039"/>
                    <a:pt x="322273" y="276842"/>
                    <a:pt x="327951" y="262645"/>
                  </a:cubicBezTo>
                  <a:lnTo>
                    <a:pt x="327951" y="262645"/>
                  </a:lnTo>
                  <a:cubicBezTo>
                    <a:pt x="335050" y="238510"/>
                    <a:pt x="344988" y="211536"/>
                    <a:pt x="344988" y="195919"/>
                  </a:cubicBezTo>
                  <a:cubicBezTo>
                    <a:pt x="344988" y="184561"/>
                    <a:pt x="342148" y="173204"/>
                    <a:pt x="336470" y="161846"/>
                  </a:cubicBezTo>
                  <a:lnTo>
                    <a:pt x="336470" y="161846"/>
                  </a:lnTo>
                  <a:cubicBezTo>
                    <a:pt x="330791" y="149069"/>
                    <a:pt x="323692" y="136291"/>
                    <a:pt x="313754" y="122094"/>
                  </a:cubicBezTo>
                  <a:cubicBezTo>
                    <a:pt x="308076" y="113576"/>
                    <a:pt x="302397" y="105058"/>
                    <a:pt x="296718" y="96540"/>
                  </a:cubicBezTo>
                  <a:cubicBezTo>
                    <a:pt x="278262" y="69565"/>
                    <a:pt x="259806" y="45430"/>
                    <a:pt x="251287" y="36912"/>
                  </a:cubicBezTo>
                  <a:cubicBezTo>
                    <a:pt x="244189" y="31233"/>
                    <a:pt x="238510" y="25555"/>
                    <a:pt x="232831" y="22715"/>
                  </a:cubicBezTo>
                  <a:cubicBezTo>
                    <a:pt x="232831" y="22715"/>
                    <a:pt x="232831" y="22715"/>
                    <a:pt x="232831" y="22715"/>
                  </a:cubicBezTo>
                  <a:cubicBezTo>
                    <a:pt x="224313" y="17036"/>
                    <a:pt x="218634" y="14197"/>
                    <a:pt x="215795" y="12777"/>
                  </a:cubicBezTo>
                  <a:cubicBezTo>
                    <a:pt x="215795" y="12777"/>
                    <a:pt x="215795" y="12777"/>
                    <a:pt x="215795" y="12777"/>
                  </a:cubicBezTo>
                  <a:cubicBezTo>
                    <a:pt x="214375" y="12777"/>
                    <a:pt x="214375" y="12777"/>
                    <a:pt x="214375" y="12777"/>
                  </a:cubicBezTo>
                  <a:lnTo>
                    <a:pt x="134872" y="0"/>
                  </a:lnTo>
                  <a:cubicBezTo>
                    <a:pt x="134872" y="0"/>
                    <a:pt x="126354" y="2839"/>
                    <a:pt x="114996" y="7099"/>
                  </a:cubicBezTo>
                  <a:cubicBezTo>
                    <a:pt x="100799" y="12777"/>
                    <a:pt x="80923" y="18456"/>
                    <a:pt x="63887" y="22715"/>
                  </a:cubicBezTo>
                  <a:cubicBezTo>
                    <a:pt x="63887" y="22715"/>
                    <a:pt x="63887" y="22715"/>
                    <a:pt x="63887" y="22715"/>
                  </a:cubicBezTo>
                  <a:cubicBezTo>
                    <a:pt x="61047" y="22715"/>
                    <a:pt x="59628" y="24135"/>
                    <a:pt x="56788" y="24135"/>
                  </a:cubicBezTo>
                  <a:cubicBezTo>
                    <a:pt x="56788" y="24135"/>
                    <a:pt x="42591" y="29814"/>
                    <a:pt x="28394" y="45430"/>
                  </a:cubicBezTo>
                  <a:cubicBezTo>
                    <a:pt x="14197" y="61047"/>
                    <a:pt x="0" y="86602"/>
                    <a:pt x="0" y="137711"/>
                  </a:cubicBezTo>
                  <a:cubicBezTo>
                    <a:pt x="0" y="183142"/>
                    <a:pt x="52529" y="291039"/>
                    <a:pt x="59628" y="325112"/>
                  </a:cubicBezTo>
                  <a:cubicBezTo>
                    <a:pt x="65306" y="359185"/>
                    <a:pt x="78084" y="370542"/>
                    <a:pt x="68146" y="413133"/>
                  </a:cubicBezTo>
                  <a:close/>
                </a:path>
              </a:pathLst>
            </a:custGeom>
            <a:solidFill>
              <a:srgbClr val="EB47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8" name="任意多边形: 形状 10107">
              <a:extLst>
                <a:ext uri="{FF2B5EF4-FFF2-40B4-BE49-F238E27FC236}">
                  <a16:creationId xmlns:a16="http://schemas.microsoft.com/office/drawing/2014/main" id="{3C71BB07-E70F-44B3-B4B0-24101B168086}"/>
                </a:ext>
              </a:extLst>
            </p:cNvPr>
            <p:cNvSpPr/>
            <p:nvPr userDrawn="1"/>
          </p:nvSpPr>
          <p:spPr>
            <a:xfrm>
              <a:off x="9774818" y="3821501"/>
              <a:ext cx="85182" cy="127773"/>
            </a:xfrm>
            <a:custGeom>
              <a:avLst/>
              <a:gdLst>
                <a:gd name="connsiteX0" fmla="*/ 0 w 85182"/>
                <a:gd name="connsiteY0" fmla="*/ 0 h 127773"/>
                <a:gd name="connsiteX1" fmla="*/ 46850 w 85182"/>
                <a:gd name="connsiteY1" fmla="*/ 72405 h 127773"/>
                <a:gd name="connsiteX2" fmla="*/ 89441 w 85182"/>
                <a:gd name="connsiteY2" fmla="*/ 139131 h 127773"/>
                <a:gd name="connsiteX3" fmla="*/ 82343 w 85182"/>
                <a:gd name="connsiteY3" fmla="*/ 99379 h 127773"/>
                <a:gd name="connsiteX4" fmla="*/ 79503 w 85182"/>
                <a:gd name="connsiteY4" fmla="*/ 80923 h 127773"/>
                <a:gd name="connsiteX5" fmla="*/ 78084 w 85182"/>
                <a:gd name="connsiteY5" fmla="*/ 75244 h 127773"/>
                <a:gd name="connsiteX6" fmla="*/ 78084 w 85182"/>
                <a:gd name="connsiteY6" fmla="*/ 75244 h 127773"/>
                <a:gd name="connsiteX7" fmla="*/ 0 w 85182"/>
                <a:gd name="connsiteY7" fmla="*/ 0 h 127773"/>
                <a:gd name="connsiteX8" fmla="*/ 0 w 85182"/>
                <a:gd name="connsiteY8" fmla="*/ 0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82" h="127773">
                  <a:moveTo>
                    <a:pt x="0" y="0"/>
                  </a:moveTo>
                  <a:lnTo>
                    <a:pt x="46850" y="72405"/>
                  </a:lnTo>
                  <a:lnTo>
                    <a:pt x="89441" y="139131"/>
                  </a:lnTo>
                  <a:cubicBezTo>
                    <a:pt x="89441" y="139131"/>
                    <a:pt x="86602" y="129193"/>
                    <a:pt x="82343" y="99379"/>
                  </a:cubicBezTo>
                  <a:cubicBezTo>
                    <a:pt x="80923" y="93700"/>
                    <a:pt x="80923" y="88022"/>
                    <a:pt x="79503" y="80923"/>
                  </a:cubicBezTo>
                  <a:cubicBezTo>
                    <a:pt x="79503" y="79503"/>
                    <a:pt x="78084" y="76664"/>
                    <a:pt x="78084" y="75244"/>
                  </a:cubicBezTo>
                  <a:lnTo>
                    <a:pt x="78084" y="75244"/>
                  </a:lnTo>
                  <a:cubicBezTo>
                    <a:pt x="58208" y="32653"/>
                    <a:pt x="2839" y="142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DAD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9" name="任意多边形: 形状 10108">
              <a:extLst>
                <a:ext uri="{FF2B5EF4-FFF2-40B4-BE49-F238E27FC236}">
                  <a16:creationId xmlns:a16="http://schemas.microsoft.com/office/drawing/2014/main" id="{00445956-7027-4547-93B6-95A43672E1C1}"/>
                </a:ext>
              </a:extLst>
            </p:cNvPr>
            <p:cNvSpPr/>
            <p:nvPr userDrawn="1"/>
          </p:nvSpPr>
          <p:spPr>
            <a:xfrm>
              <a:off x="9652238" y="3695955"/>
              <a:ext cx="99379" cy="127773"/>
            </a:xfrm>
            <a:custGeom>
              <a:avLst/>
              <a:gdLst>
                <a:gd name="connsiteX0" fmla="*/ 6164 w 99379"/>
                <a:gd name="connsiteY0" fmla="*/ 111350 h 127773"/>
                <a:gd name="connsiteX1" fmla="*/ 485 w 99379"/>
                <a:gd name="connsiteY1" fmla="*/ 2032 h 127773"/>
                <a:gd name="connsiteX2" fmla="*/ 98445 w 99379"/>
                <a:gd name="connsiteY2" fmla="*/ 65919 h 127773"/>
                <a:gd name="connsiteX3" fmla="*/ 98445 w 99379"/>
                <a:gd name="connsiteY3" fmla="*/ 71598 h 127773"/>
                <a:gd name="connsiteX4" fmla="*/ 98445 w 99379"/>
                <a:gd name="connsiteY4" fmla="*/ 73018 h 127773"/>
                <a:gd name="connsiteX5" fmla="*/ 98445 w 99379"/>
                <a:gd name="connsiteY5" fmla="*/ 90054 h 127773"/>
                <a:gd name="connsiteX6" fmla="*/ 98445 w 99379"/>
                <a:gd name="connsiteY6" fmla="*/ 92893 h 127773"/>
                <a:gd name="connsiteX7" fmla="*/ 108383 w 99379"/>
                <a:gd name="connsiteY7" fmla="*/ 129806 h 127773"/>
                <a:gd name="connsiteX8" fmla="*/ 6164 w 99379"/>
                <a:gd name="connsiteY8" fmla="*/ 111350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379" h="127773">
                  <a:moveTo>
                    <a:pt x="6164" y="111350"/>
                  </a:moveTo>
                  <a:cubicBezTo>
                    <a:pt x="6164" y="111350"/>
                    <a:pt x="9003" y="16230"/>
                    <a:pt x="485" y="2032"/>
                  </a:cubicBezTo>
                  <a:cubicBezTo>
                    <a:pt x="-8033" y="-13584"/>
                    <a:pt x="98445" y="65919"/>
                    <a:pt x="98445" y="65919"/>
                  </a:cubicBezTo>
                  <a:cubicBezTo>
                    <a:pt x="98445" y="65919"/>
                    <a:pt x="98445" y="70178"/>
                    <a:pt x="98445" y="71598"/>
                  </a:cubicBezTo>
                  <a:cubicBezTo>
                    <a:pt x="98445" y="71598"/>
                    <a:pt x="98445" y="73018"/>
                    <a:pt x="98445" y="73018"/>
                  </a:cubicBezTo>
                  <a:cubicBezTo>
                    <a:pt x="98445" y="81536"/>
                    <a:pt x="98445" y="82955"/>
                    <a:pt x="98445" y="90054"/>
                  </a:cubicBezTo>
                  <a:cubicBezTo>
                    <a:pt x="98445" y="91474"/>
                    <a:pt x="98445" y="91474"/>
                    <a:pt x="98445" y="92893"/>
                  </a:cubicBezTo>
                  <a:cubicBezTo>
                    <a:pt x="99864" y="105671"/>
                    <a:pt x="102704" y="118448"/>
                    <a:pt x="108383" y="129806"/>
                  </a:cubicBezTo>
                  <a:cubicBezTo>
                    <a:pt x="119740" y="153941"/>
                    <a:pt x="6164" y="111350"/>
                    <a:pt x="6164" y="111350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0" name="任意多边形: 形状 10109">
              <a:extLst>
                <a:ext uri="{FF2B5EF4-FFF2-40B4-BE49-F238E27FC236}">
                  <a16:creationId xmlns:a16="http://schemas.microsoft.com/office/drawing/2014/main" id="{0A385F5A-0F93-41FB-805F-A22D14C02814}"/>
                </a:ext>
              </a:extLst>
            </p:cNvPr>
            <p:cNvSpPr/>
            <p:nvPr userDrawn="1"/>
          </p:nvSpPr>
          <p:spPr>
            <a:xfrm>
              <a:off x="9774818" y="3821501"/>
              <a:ext cx="70985" cy="99379"/>
            </a:xfrm>
            <a:custGeom>
              <a:avLst/>
              <a:gdLst>
                <a:gd name="connsiteX0" fmla="*/ 76664 w 70985"/>
                <a:gd name="connsiteY0" fmla="*/ 75244 h 99379"/>
                <a:gd name="connsiteX1" fmla="*/ 76664 w 70985"/>
                <a:gd name="connsiteY1" fmla="*/ 75244 h 99379"/>
                <a:gd name="connsiteX2" fmla="*/ 80923 w 70985"/>
                <a:gd name="connsiteY2" fmla="*/ 100799 h 99379"/>
                <a:gd name="connsiteX3" fmla="*/ 63887 w 70985"/>
                <a:gd name="connsiteY3" fmla="*/ 75244 h 99379"/>
                <a:gd name="connsiteX4" fmla="*/ 24135 w 70985"/>
                <a:gd name="connsiteY4" fmla="*/ 21296 h 99379"/>
                <a:gd name="connsiteX5" fmla="*/ 0 w 70985"/>
                <a:gd name="connsiteY5" fmla="*/ 0 h 99379"/>
                <a:gd name="connsiteX6" fmla="*/ 76664 w 70985"/>
                <a:gd name="connsiteY6" fmla="*/ 75244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85" h="99379">
                  <a:moveTo>
                    <a:pt x="76664" y="75244"/>
                  </a:moveTo>
                  <a:lnTo>
                    <a:pt x="76664" y="75244"/>
                  </a:lnTo>
                  <a:cubicBezTo>
                    <a:pt x="76664" y="75244"/>
                    <a:pt x="79503" y="80923"/>
                    <a:pt x="80923" y="100799"/>
                  </a:cubicBezTo>
                  <a:lnTo>
                    <a:pt x="63887" y="75244"/>
                  </a:lnTo>
                  <a:cubicBezTo>
                    <a:pt x="63887" y="75244"/>
                    <a:pt x="34073" y="32653"/>
                    <a:pt x="24135" y="21296"/>
                  </a:cubicBezTo>
                  <a:cubicBezTo>
                    <a:pt x="14197" y="9938"/>
                    <a:pt x="0" y="0"/>
                    <a:pt x="0" y="0"/>
                  </a:cubicBezTo>
                  <a:cubicBezTo>
                    <a:pt x="0" y="0"/>
                    <a:pt x="59627" y="28394"/>
                    <a:pt x="76664" y="75244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1" name="任意多边形: 形状 10110">
              <a:extLst>
                <a:ext uri="{FF2B5EF4-FFF2-40B4-BE49-F238E27FC236}">
                  <a16:creationId xmlns:a16="http://schemas.microsoft.com/office/drawing/2014/main" id="{133B5917-B5C5-4F27-8506-18085B6045A1}"/>
                </a:ext>
              </a:extLst>
            </p:cNvPr>
            <p:cNvSpPr/>
            <p:nvPr userDrawn="1"/>
          </p:nvSpPr>
          <p:spPr>
            <a:xfrm>
              <a:off x="9634268" y="3798671"/>
              <a:ext cx="156167" cy="99379"/>
            </a:xfrm>
            <a:custGeom>
              <a:avLst/>
              <a:gdLst>
                <a:gd name="connsiteX0" fmla="*/ 122094 w 156167"/>
                <a:gd name="connsiteY0" fmla="*/ 12892 h 99379"/>
                <a:gd name="connsiteX1" fmla="*/ 157587 w 156167"/>
                <a:gd name="connsiteY1" fmla="*/ 102333 h 99379"/>
                <a:gd name="connsiteX2" fmla="*/ 0 w 156167"/>
                <a:gd name="connsiteY2" fmla="*/ 14312 h 99379"/>
                <a:gd name="connsiteX3" fmla="*/ 122094 w 156167"/>
                <a:gd name="connsiteY3" fmla="*/ 12892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167" h="99379">
                  <a:moveTo>
                    <a:pt x="122094" y="12892"/>
                  </a:moveTo>
                  <a:cubicBezTo>
                    <a:pt x="122094" y="12892"/>
                    <a:pt x="176043" y="95235"/>
                    <a:pt x="157587" y="102333"/>
                  </a:cubicBezTo>
                  <a:cubicBezTo>
                    <a:pt x="139131" y="109432"/>
                    <a:pt x="41171" y="92396"/>
                    <a:pt x="0" y="14312"/>
                  </a:cubicBezTo>
                  <a:cubicBezTo>
                    <a:pt x="0" y="14312"/>
                    <a:pt x="61047" y="-16922"/>
                    <a:pt x="122094" y="1289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2" name="任意多边形: 形状 10111">
              <a:extLst>
                <a:ext uri="{FF2B5EF4-FFF2-40B4-BE49-F238E27FC236}">
                  <a16:creationId xmlns:a16="http://schemas.microsoft.com/office/drawing/2014/main" id="{23C5634D-4D87-4934-85A5-94691A08CB4C}"/>
                </a:ext>
              </a:extLst>
            </p:cNvPr>
            <p:cNvSpPr/>
            <p:nvPr userDrawn="1"/>
          </p:nvSpPr>
          <p:spPr>
            <a:xfrm>
              <a:off x="9860000" y="4098343"/>
              <a:ext cx="14197" cy="14197"/>
            </a:xfrm>
            <a:custGeom>
              <a:avLst/>
              <a:gdLst>
                <a:gd name="connsiteX0" fmla="*/ 0 w 0"/>
                <a:gd name="connsiteY0" fmla="*/ 1420 h 0"/>
                <a:gd name="connsiteX1" fmla="*/ 0 w 0"/>
                <a:gd name="connsiteY1" fmla="*/ 0 h 0"/>
                <a:gd name="connsiteX2" fmla="*/ 0 w 0"/>
                <a:gd name="connsiteY2" fmla="*/ 1420 h 0"/>
                <a:gd name="connsiteX3" fmla="*/ 0 w 0"/>
                <a:gd name="connsiteY3" fmla="*/ 142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142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420"/>
                  </a:cubicBezTo>
                  <a:cubicBezTo>
                    <a:pt x="0" y="1420"/>
                    <a:pt x="0" y="1420"/>
                    <a:pt x="0" y="1420"/>
                  </a:cubicBezTo>
                  <a:close/>
                </a:path>
              </a:pathLst>
            </a:custGeom>
            <a:solidFill>
              <a:srgbClr val="2F456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3" name="任意多边形: 形状 10112">
              <a:extLst>
                <a:ext uri="{FF2B5EF4-FFF2-40B4-BE49-F238E27FC236}">
                  <a16:creationId xmlns:a16="http://schemas.microsoft.com/office/drawing/2014/main" id="{122AB035-DF43-4C24-B89E-3C9D927A40B4}"/>
                </a:ext>
              </a:extLst>
            </p:cNvPr>
            <p:cNvSpPr/>
            <p:nvPr userDrawn="1"/>
          </p:nvSpPr>
          <p:spPr>
            <a:xfrm>
              <a:off x="9540567" y="3819327"/>
              <a:ext cx="113576" cy="127773"/>
            </a:xfrm>
            <a:custGeom>
              <a:avLst/>
              <a:gdLst>
                <a:gd name="connsiteX0" fmla="*/ 89441 w 113576"/>
                <a:gd name="connsiteY0" fmla="*/ 135626 h 127773"/>
                <a:gd name="connsiteX1" fmla="*/ 0 w 113576"/>
                <a:gd name="connsiteY1" fmla="*/ 110071 h 127773"/>
                <a:gd name="connsiteX2" fmla="*/ 86602 w 113576"/>
                <a:gd name="connsiteY2" fmla="*/ 754 h 127773"/>
                <a:gd name="connsiteX3" fmla="*/ 89441 w 113576"/>
                <a:gd name="connsiteY3" fmla="*/ 135626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127773">
                  <a:moveTo>
                    <a:pt x="89441" y="135626"/>
                  </a:moveTo>
                  <a:cubicBezTo>
                    <a:pt x="89441" y="135626"/>
                    <a:pt x="21296" y="111491"/>
                    <a:pt x="0" y="110071"/>
                  </a:cubicBezTo>
                  <a:cubicBezTo>
                    <a:pt x="0" y="110071"/>
                    <a:pt x="15617" y="-10603"/>
                    <a:pt x="86602" y="754"/>
                  </a:cubicBezTo>
                  <a:cubicBezTo>
                    <a:pt x="156167" y="13532"/>
                    <a:pt x="89441" y="135626"/>
                    <a:pt x="89441" y="135626"/>
                  </a:cubicBezTo>
                  <a:close/>
                </a:path>
              </a:pathLst>
            </a:custGeom>
            <a:solidFill>
              <a:srgbClr val="EDDAD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4" name="任意多边形: 形状 10113">
              <a:extLst>
                <a:ext uri="{FF2B5EF4-FFF2-40B4-BE49-F238E27FC236}">
                  <a16:creationId xmlns:a16="http://schemas.microsoft.com/office/drawing/2014/main" id="{3251A2AF-3643-40BD-8F95-3569AF5B1A83}"/>
                </a:ext>
              </a:extLst>
            </p:cNvPr>
            <p:cNvSpPr/>
            <p:nvPr userDrawn="1"/>
          </p:nvSpPr>
          <p:spPr>
            <a:xfrm>
              <a:off x="9611552" y="3786009"/>
              <a:ext cx="184561" cy="127773"/>
            </a:xfrm>
            <a:custGeom>
              <a:avLst/>
              <a:gdLst>
                <a:gd name="connsiteX0" fmla="*/ 140550 w 184561"/>
                <a:gd name="connsiteY0" fmla="*/ 11358 h 127773"/>
                <a:gd name="connsiteX1" fmla="*/ 48270 w 184561"/>
                <a:gd name="connsiteY1" fmla="*/ 0 h 127773"/>
                <a:gd name="connsiteX2" fmla="*/ 44011 w 184561"/>
                <a:gd name="connsiteY2" fmla="*/ 19876 h 127773"/>
                <a:gd name="connsiteX3" fmla="*/ 0 w 184561"/>
                <a:gd name="connsiteY3" fmla="*/ 34073 h 127773"/>
                <a:gd name="connsiteX4" fmla="*/ 183141 w 184561"/>
                <a:gd name="connsiteY4" fmla="*/ 123514 h 127773"/>
                <a:gd name="connsiteX5" fmla="*/ 146229 w 184561"/>
                <a:gd name="connsiteY5" fmla="*/ 26974 h 127773"/>
                <a:gd name="connsiteX6" fmla="*/ 140550 w 184561"/>
                <a:gd name="connsiteY6" fmla="*/ 11358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561" h="127773">
                  <a:moveTo>
                    <a:pt x="140550" y="11358"/>
                  </a:moveTo>
                  <a:cubicBezTo>
                    <a:pt x="140550" y="11358"/>
                    <a:pt x="136291" y="26974"/>
                    <a:pt x="48270" y="0"/>
                  </a:cubicBezTo>
                  <a:lnTo>
                    <a:pt x="44011" y="19876"/>
                  </a:lnTo>
                  <a:cubicBezTo>
                    <a:pt x="44011" y="19876"/>
                    <a:pt x="32653" y="21296"/>
                    <a:pt x="0" y="34073"/>
                  </a:cubicBezTo>
                  <a:cubicBezTo>
                    <a:pt x="0" y="34073"/>
                    <a:pt x="159006" y="184561"/>
                    <a:pt x="183141" y="123514"/>
                  </a:cubicBezTo>
                  <a:cubicBezTo>
                    <a:pt x="207277" y="62467"/>
                    <a:pt x="146229" y="26974"/>
                    <a:pt x="146229" y="26974"/>
                  </a:cubicBezTo>
                  <a:lnTo>
                    <a:pt x="140550" y="11358"/>
                  </a:lnTo>
                  <a:close/>
                </a:path>
              </a:pathLst>
            </a:custGeom>
            <a:solidFill>
              <a:srgbClr val="EB47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5" name="任意多边形: 形状 10114">
              <a:extLst>
                <a:ext uri="{FF2B5EF4-FFF2-40B4-BE49-F238E27FC236}">
                  <a16:creationId xmlns:a16="http://schemas.microsoft.com/office/drawing/2014/main" id="{A4AA2841-064D-41DF-A9BB-368685CB74E2}"/>
                </a:ext>
              </a:extLst>
            </p:cNvPr>
            <p:cNvSpPr/>
            <p:nvPr userDrawn="1"/>
          </p:nvSpPr>
          <p:spPr>
            <a:xfrm>
              <a:off x="9757781" y="3812983"/>
              <a:ext cx="113576" cy="141970"/>
            </a:xfrm>
            <a:custGeom>
              <a:avLst/>
              <a:gdLst>
                <a:gd name="connsiteX0" fmla="*/ 0 w 113576"/>
                <a:gd name="connsiteY0" fmla="*/ 0 h 141970"/>
                <a:gd name="connsiteX1" fmla="*/ 120675 w 113576"/>
                <a:gd name="connsiteY1" fmla="*/ 149069 h 141970"/>
                <a:gd name="connsiteX2" fmla="*/ 97959 w 113576"/>
                <a:gd name="connsiteY2" fmla="*/ 109317 h 141970"/>
                <a:gd name="connsiteX3" fmla="*/ 80923 w 113576"/>
                <a:gd name="connsiteY3" fmla="*/ 83762 h 141970"/>
                <a:gd name="connsiteX4" fmla="*/ 35493 w 113576"/>
                <a:gd name="connsiteY4" fmla="*/ 24135 h 141970"/>
                <a:gd name="connsiteX5" fmla="*/ 17037 w 113576"/>
                <a:gd name="connsiteY5" fmla="*/ 9938 h 141970"/>
                <a:gd name="connsiteX6" fmla="*/ 17037 w 113576"/>
                <a:gd name="connsiteY6" fmla="*/ 9938 h 141970"/>
                <a:gd name="connsiteX7" fmla="*/ 0 w 113576"/>
                <a:gd name="connsiteY7" fmla="*/ 0 h 141970"/>
                <a:gd name="connsiteX8" fmla="*/ 0 w 113576"/>
                <a:gd name="connsiteY8" fmla="*/ 0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3576" h="141970">
                  <a:moveTo>
                    <a:pt x="0" y="0"/>
                  </a:moveTo>
                  <a:lnTo>
                    <a:pt x="120675" y="149069"/>
                  </a:lnTo>
                  <a:cubicBezTo>
                    <a:pt x="114996" y="136291"/>
                    <a:pt x="107897" y="123514"/>
                    <a:pt x="97959" y="109317"/>
                  </a:cubicBezTo>
                  <a:cubicBezTo>
                    <a:pt x="92281" y="100799"/>
                    <a:pt x="86602" y="92281"/>
                    <a:pt x="80923" y="83762"/>
                  </a:cubicBezTo>
                  <a:cubicBezTo>
                    <a:pt x="62467" y="56788"/>
                    <a:pt x="44011" y="32653"/>
                    <a:pt x="35493" y="24135"/>
                  </a:cubicBezTo>
                  <a:cubicBezTo>
                    <a:pt x="28394" y="18456"/>
                    <a:pt x="22715" y="12777"/>
                    <a:pt x="17037" y="9938"/>
                  </a:cubicBezTo>
                  <a:cubicBezTo>
                    <a:pt x="17037" y="9938"/>
                    <a:pt x="17037" y="9938"/>
                    <a:pt x="17037" y="9938"/>
                  </a:cubicBezTo>
                  <a:cubicBezTo>
                    <a:pt x="8518" y="2839"/>
                    <a:pt x="284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B474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6" name="任意多边形: 形状 10115">
              <a:extLst>
                <a:ext uri="{FF2B5EF4-FFF2-40B4-BE49-F238E27FC236}">
                  <a16:creationId xmlns:a16="http://schemas.microsoft.com/office/drawing/2014/main" id="{7486CD7B-7A12-4841-B21D-399183865CDE}"/>
                </a:ext>
              </a:extLst>
            </p:cNvPr>
            <p:cNvSpPr/>
            <p:nvPr userDrawn="1"/>
          </p:nvSpPr>
          <p:spPr>
            <a:xfrm>
              <a:off x="9757781" y="3811563"/>
              <a:ext cx="127773" cy="283940"/>
            </a:xfrm>
            <a:custGeom>
              <a:avLst/>
              <a:gdLst>
                <a:gd name="connsiteX0" fmla="*/ 102219 w 127773"/>
                <a:gd name="connsiteY0" fmla="*/ 286780 h 283940"/>
                <a:gd name="connsiteX1" fmla="*/ 129193 w 127773"/>
                <a:gd name="connsiteY1" fmla="*/ 184561 h 283940"/>
                <a:gd name="connsiteX2" fmla="*/ 120675 w 127773"/>
                <a:gd name="connsiteY2" fmla="*/ 150488 h 283940"/>
                <a:gd name="connsiteX3" fmla="*/ 120675 w 127773"/>
                <a:gd name="connsiteY3" fmla="*/ 150488 h 283940"/>
                <a:gd name="connsiteX4" fmla="*/ 97959 w 127773"/>
                <a:gd name="connsiteY4" fmla="*/ 109317 h 283940"/>
                <a:gd name="connsiteX5" fmla="*/ 76664 w 127773"/>
                <a:gd name="connsiteY5" fmla="*/ 78084 h 283940"/>
                <a:gd name="connsiteX6" fmla="*/ 35493 w 127773"/>
                <a:gd name="connsiteY6" fmla="*/ 24135 h 283940"/>
                <a:gd name="connsiteX7" fmla="*/ 17037 w 127773"/>
                <a:gd name="connsiteY7" fmla="*/ 8518 h 283940"/>
                <a:gd name="connsiteX8" fmla="*/ 17037 w 127773"/>
                <a:gd name="connsiteY8" fmla="*/ 8518 h 283940"/>
                <a:gd name="connsiteX9" fmla="*/ 0 w 127773"/>
                <a:gd name="connsiteY9" fmla="*/ 0 h 283940"/>
                <a:gd name="connsiteX10" fmla="*/ 0 w 127773"/>
                <a:gd name="connsiteY10" fmla="*/ 0 h 283940"/>
                <a:gd name="connsiteX11" fmla="*/ 102219 w 127773"/>
                <a:gd name="connsiteY11" fmla="*/ 286780 h 28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7773" h="283940">
                  <a:moveTo>
                    <a:pt x="102219" y="286780"/>
                  </a:moveTo>
                  <a:cubicBezTo>
                    <a:pt x="110737" y="262645"/>
                    <a:pt x="130613" y="207276"/>
                    <a:pt x="129193" y="184561"/>
                  </a:cubicBezTo>
                  <a:cubicBezTo>
                    <a:pt x="127773" y="173204"/>
                    <a:pt x="124934" y="161846"/>
                    <a:pt x="120675" y="150488"/>
                  </a:cubicBezTo>
                  <a:lnTo>
                    <a:pt x="120675" y="150488"/>
                  </a:lnTo>
                  <a:cubicBezTo>
                    <a:pt x="114996" y="137711"/>
                    <a:pt x="107897" y="123514"/>
                    <a:pt x="97959" y="109317"/>
                  </a:cubicBezTo>
                  <a:cubicBezTo>
                    <a:pt x="92281" y="100799"/>
                    <a:pt x="82343" y="86602"/>
                    <a:pt x="76664" y="78084"/>
                  </a:cubicBezTo>
                  <a:cubicBezTo>
                    <a:pt x="58208" y="51109"/>
                    <a:pt x="44011" y="32653"/>
                    <a:pt x="35493" y="24135"/>
                  </a:cubicBezTo>
                  <a:cubicBezTo>
                    <a:pt x="28394" y="18456"/>
                    <a:pt x="22715" y="12777"/>
                    <a:pt x="17037" y="8518"/>
                  </a:cubicBezTo>
                  <a:cubicBezTo>
                    <a:pt x="17037" y="8518"/>
                    <a:pt x="17037" y="8518"/>
                    <a:pt x="17037" y="8518"/>
                  </a:cubicBezTo>
                  <a:cubicBezTo>
                    <a:pt x="8518" y="2839"/>
                    <a:pt x="2840" y="142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27773" y="114996"/>
                    <a:pt x="102219" y="286780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7" name="任意多边形: 形状 10116">
              <a:extLst>
                <a:ext uri="{FF2B5EF4-FFF2-40B4-BE49-F238E27FC236}">
                  <a16:creationId xmlns:a16="http://schemas.microsoft.com/office/drawing/2014/main" id="{B2C14B2F-2F02-4065-9D96-5BE5594DEBF6}"/>
                </a:ext>
              </a:extLst>
            </p:cNvPr>
            <p:cNvSpPr/>
            <p:nvPr userDrawn="1"/>
          </p:nvSpPr>
          <p:spPr>
            <a:xfrm>
              <a:off x="9547179" y="4322656"/>
              <a:ext cx="56788" cy="56788"/>
            </a:xfrm>
            <a:custGeom>
              <a:avLst/>
              <a:gdLst>
                <a:gd name="connsiteX0" fmla="*/ 40239 w 56788"/>
                <a:gd name="connsiteY0" fmla="*/ 0 h 56788"/>
                <a:gd name="connsiteX1" fmla="*/ 54436 w 56788"/>
                <a:gd name="connsiteY1" fmla="*/ 15617 h 56788"/>
                <a:gd name="connsiteX2" fmla="*/ 65793 w 56788"/>
                <a:gd name="connsiteY2" fmla="*/ 31233 h 56788"/>
                <a:gd name="connsiteX3" fmla="*/ 31720 w 56788"/>
                <a:gd name="connsiteY3" fmla="*/ 56788 h 56788"/>
                <a:gd name="connsiteX4" fmla="*/ 3326 w 56788"/>
                <a:gd name="connsiteY4" fmla="*/ 17036 h 56788"/>
                <a:gd name="connsiteX5" fmla="*/ 40239 w 56788"/>
                <a:gd name="connsiteY5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788" h="56788">
                  <a:moveTo>
                    <a:pt x="40239" y="0"/>
                  </a:moveTo>
                  <a:cubicBezTo>
                    <a:pt x="40239" y="0"/>
                    <a:pt x="48757" y="12777"/>
                    <a:pt x="54436" y="15617"/>
                  </a:cubicBezTo>
                  <a:cubicBezTo>
                    <a:pt x="60114" y="18456"/>
                    <a:pt x="65793" y="31233"/>
                    <a:pt x="65793" y="31233"/>
                  </a:cubicBezTo>
                  <a:lnTo>
                    <a:pt x="31720" y="56788"/>
                  </a:lnTo>
                  <a:cubicBezTo>
                    <a:pt x="31720" y="56788"/>
                    <a:pt x="18943" y="26974"/>
                    <a:pt x="3326" y="17036"/>
                  </a:cubicBezTo>
                  <a:cubicBezTo>
                    <a:pt x="-13710" y="8518"/>
                    <a:pt x="40239" y="0"/>
                    <a:pt x="40239" y="0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8" name="任意多边形: 形状 10117">
              <a:extLst>
                <a:ext uri="{FF2B5EF4-FFF2-40B4-BE49-F238E27FC236}">
                  <a16:creationId xmlns:a16="http://schemas.microsoft.com/office/drawing/2014/main" id="{42FAFFB5-B978-4EAB-8692-55F56CE88D48}"/>
                </a:ext>
              </a:extLst>
            </p:cNvPr>
            <p:cNvSpPr/>
            <p:nvPr userDrawn="1"/>
          </p:nvSpPr>
          <p:spPr>
            <a:xfrm>
              <a:off x="9427922" y="3832128"/>
              <a:ext cx="212955" cy="525290"/>
            </a:xfrm>
            <a:custGeom>
              <a:avLst/>
              <a:gdLst>
                <a:gd name="connsiteX0" fmla="*/ 106967 w 212955"/>
                <a:gd name="connsiteY0" fmla="*/ 60358 h 525289"/>
                <a:gd name="connsiteX1" fmla="*/ 193568 w 212955"/>
                <a:gd name="connsiteY1" fmla="*/ 4989 h 525289"/>
                <a:gd name="connsiteX2" fmla="*/ 166594 w 212955"/>
                <a:gd name="connsiteY2" fmla="*/ 139861 h 525289"/>
                <a:gd name="connsiteX3" fmla="*/ 89930 w 212955"/>
                <a:gd name="connsiteY3" fmla="*/ 263375 h 525289"/>
                <a:gd name="connsiteX4" fmla="*/ 82831 w 212955"/>
                <a:gd name="connsiteY4" fmla="*/ 345718 h 525289"/>
                <a:gd name="connsiteX5" fmla="*/ 162335 w 212955"/>
                <a:gd name="connsiteY5" fmla="*/ 486268 h 525289"/>
                <a:gd name="connsiteX6" fmla="*/ 111225 w 212955"/>
                <a:gd name="connsiteY6" fmla="*/ 523181 h 525289"/>
                <a:gd name="connsiteX7" fmla="*/ 33142 w 212955"/>
                <a:gd name="connsiteY7" fmla="*/ 403926 h 525289"/>
                <a:gd name="connsiteX8" fmla="*/ 9007 w 212955"/>
                <a:gd name="connsiteY8" fmla="*/ 264795 h 525289"/>
                <a:gd name="connsiteX9" fmla="*/ 106967 w 212955"/>
                <a:gd name="connsiteY9" fmla="*/ 60358 h 525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2955" h="525289">
                  <a:moveTo>
                    <a:pt x="106967" y="60358"/>
                  </a:moveTo>
                  <a:cubicBezTo>
                    <a:pt x="106967" y="60358"/>
                    <a:pt x="135361" y="-20565"/>
                    <a:pt x="193568" y="4989"/>
                  </a:cubicBezTo>
                  <a:cubicBezTo>
                    <a:pt x="250356" y="29124"/>
                    <a:pt x="173692" y="128504"/>
                    <a:pt x="166594" y="139861"/>
                  </a:cubicBezTo>
                  <a:cubicBezTo>
                    <a:pt x="159495" y="152638"/>
                    <a:pt x="95609" y="249178"/>
                    <a:pt x="89930" y="263375"/>
                  </a:cubicBezTo>
                  <a:cubicBezTo>
                    <a:pt x="70054" y="304547"/>
                    <a:pt x="77153" y="325842"/>
                    <a:pt x="82831" y="345718"/>
                  </a:cubicBezTo>
                  <a:cubicBezTo>
                    <a:pt x="105547" y="412444"/>
                    <a:pt x="150977" y="474911"/>
                    <a:pt x="162335" y="486268"/>
                  </a:cubicBezTo>
                  <a:cubicBezTo>
                    <a:pt x="173692" y="497626"/>
                    <a:pt x="128262" y="535958"/>
                    <a:pt x="111225" y="523181"/>
                  </a:cubicBezTo>
                  <a:cubicBezTo>
                    <a:pt x="87090" y="507564"/>
                    <a:pt x="45919" y="422382"/>
                    <a:pt x="33142" y="403926"/>
                  </a:cubicBezTo>
                  <a:cubicBezTo>
                    <a:pt x="18945" y="379791"/>
                    <a:pt x="-16548" y="338619"/>
                    <a:pt x="9007" y="264795"/>
                  </a:cubicBezTo>
                  <a:cubicBezTo>
                    <a:pt x="26043" y="213686"/>
                    <a:pt x="106967" y="60358"/>
                    <a:pt x="106967" y="60358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9" name="任意多边形: 形状 10118">
              <a:extLst>
                <a:ext uri="{FF2B5EF4-FFF2-40B4-BE49-F238E27FC236}">
                  <a16:creationId xmlns:a16="http://schemas.microsoft.com/office/drawing/2014/main" id="{98768A61-0F52-446D-B4C0-465161454BCF}"/>
                </a:ext>
              </a:extLst>
            </p:cNvPr>
            <p:cNvSpPr/>
            <p:nvPr userDrawn="1"/>
          </p:nvSpPr>
          <p:spPr>
            <a:xfrm>
              <a:off x="9547666" y="4329754"/>
              <a:ext cx="85182" cy="113576"/>
            </a:xfrm>
            <a:custGeom>
              <a:avLst/>
              <a:gdLst>
                <a:gd name="connsiteX0" fmla="*/ 73824 w 85182"/>
                <a:gd name="connsiteY0" fmla="*/ 0 h 113576"/>
                <a:gd name="connsiteX1" fmla="*/ 0 w 85182"/>
                <a:gd name="connsiteY1" fmla="*/ 59627 h 113576"/>
                <a:gd name="connsiteX2" fmla="*/ 86602 w 85182"/>
                <a:gd name="connsiteY2" fmla="*/ 110737 h 113576"/>
                <a:gd name="connsiteX3" fmla="*/ 73824 w 85182"/>
                <a:gd name="connsiteY3" fmla="*/ 0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182" h="113576">
                  <a:moveTo>
                    <a:pt x="73824" y="0"/>
                  </a:moveTo>
                  <a:lnTo>
                    <a:pt x="0" y="59627"/>
                  </a:lnTo>
                  <a:cubicBezTo>
                    <a:pt x="0" y="59627"/>
                    <a:pt x="58208" y="147649"/>
                    <a:pt x="86602" y="110737"/>
                  </a:cubicBezTo>
                  <a:cubicBezTo>
                    <a:pt x="113576" y="72405"/>
                    <a:pt x="73824" y="0"/>
                    <a:pt x="73824" y="0"/>
                  </a:cubicBezTo>
                  <a:close/>
                </a:path>
              </a:pathLst>
            </a:custGeom>
            <a:solidFill>
              <a:srgbClr val="DBCAC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0" name="任意多边形: 形状 10119">
              <a:extLst>
                <a:ext uri="{FF2B5EF4-FFF2-40B4-BE49-F238E27FC236}">
                  <a16:creationId xmlns:a16="http://schemas.microsoft.com/office/drawing/2014/main" id="{C21A428D-EBCF-436C-8044-2F7D369FD080}"/>
                </a:ext>
              </a:extLst>
            </p:cNvPr>
            <p:cNvSpPr/>
            <p:nvPr userDrawn="1"/>
          </p:nvSpPr>
          <p:spPr>
            <a:xfrm>
              <a:off x="9361685" y="3784589"/>
              <a:ext cx="411714" cy="1078974"/>
            </a:xfrm>
            <a:custGeom>
              <a:avLst/>
              <a:gdLst>
                <a:gd name="connsiteX0" fmla="*/ 414553 w 411713"/>
                <a:gd name="connsiteY0" fmla="*/ 208696 h 1078973"/>
                <a:gd name="connsiteX1" fmla="*/ 414553 w 411713"/>
                <a:gd name="connsiteY1" fmla="*/ 208696 h 1078973"/>
                <a:gd name="connsiteX2" fmla="*/ 298137 w 411713"/>
                <a:gd name="connsiteY2" fmla="*/ 0 h 1078973"/>
                <a:gd name="connsiteX3" fmla="*/ 293879 w 411713"/>
                <a:gd name="connsiteY3" fmla="*/ 19876 h 1078973"/>
                <a:gd name="connsiteX4" fmla="*/ 293879 w 411713"/>
                <a:gd name="connsiteY4" fmla="*/ 19876 h 1078973"/>
                <a:gd name="connsiteX5" fmla="*/ 178883 w 411713"/>
                <a:gd name="connsiteY5" fmla="*/ 146229 h 1078973"/>
                <a:gd name="connsiteX6" fmla="*/ 194499 w 411713"/>
                <a:gd name="connsiteY6" fmla="*/ 249868 h 1078973"/>
                <a:gd name="connsiteX7" fmla="*/ 207277 w 411713"/>
                <a:gd name="connsiteY7" fmla="*/ 299557 h 1078973"/>
                <a:gd name="connsiteX8" fmla="*/ 228572 w 411713"/>
                <a:gd name="connsiteY8" fmla="*/ 435849 h 1078973"/>
                <a:gd name="connsiteX9" fmla="*/ 0 w 411713"/>
                <a:gd name="connsiteY9" fmla="*/ 888734 h 1078973"/>
                <a:gd name="connsiteX10" fmla="*/ 194499 w 411713"/>
                <a:gd name="connsiteY10" fmla="*/ 1078974 h 1078973"/>
                <a:gd name="connsiteX11" fmla="*/ 414553 w 411713"/>
                <a:gd name="connsiteY11" fmla="*/ 208696 h 107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1713" h="1078973">
                  <a:moveTo>
                    <a:pt x="414553" y="208696"/>
                  </a:moveTo>
                  <a:lnTo>
                    <a:pt x="414553" y="208696"/>
                  </a:lnTo>
                  <a:cubicBezTo>
                    <a:pt x="401776" y="78084"/>
                    <a:pt x="298137" y="0"/>
                    <a:pt x="298137" y="0"/>
                  </a:cubicBezTo>
                  <a:lnTo>
                    <a:pt x="293879" y="19876"/>
                  </a:lnTo>
                  <a:lnTo>
                    <a:pt x="293879" y="19876"/>
                  </a:lnTo>
                  <a:cubicBezTo>
                    <a:pt x="185981" y="49690"/>
                    <a:pt x="184561" y="73825"/>
                    <a:pt x="178883" y="146229"/>
                  </a:cubicBezTo>
                  <a:cubicBezTo>
                    <a:pt x="177463" y="173204"/>
                    <a:pt x="184561" y="210116"/>
                    <a:pt x="194499" y="249868"/>
                  </a:cubicBezTo>
                  <a:cubicBezTo>
                    <a:pt x="198758" y="265484"/>
                    <a:pt x="203017" y="282521"/>
                    <a:pt x="207277" y="299557"/>
                  </a:cubicBezTo>
                  <a:cubicBezTo>
                    <a:pt x="220054" y="349247"/>
                    <a:pt x="231411" y="397517"/>
                    <a:pt x="228572" y="435849"/>
                  </a:cubicBezTo>
                  <a:cubicBezTo>
                    <a:pt x="224313" y="519611"/>
                    <a:pt x="0" y="888734"/>
                    <a:pt x="0" y="888734"/>
                  </a:cubicBezTo>
                  <a:cubicBezTo>
                    <a:pt x="0" y="966817"/>
                    <a:pt x="194499" y="1078974"/>
                    <a:pt x="194499" y="1078974"/>
                  </a:cubicBezTo>
                  <a:cubicBezTo>
                    <a:pt x="184561" y="975335"/>
                    <a:pt x="431589" y="312334"/>
                    <a:pt x="414553" y="208696"/>
                  </a:cubicBezTo>
                  <a:close/>
                </a:path>
              </a:pathLst>
            </a:custGeom>
            <a:solidFill>
              <a:srgbClr val="FFD25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1" name="任意多边形: 形状 10120">
              <a:extLst>
                <a:ext uri="{FF2B5EF4-FFF2-40B4-BE49-F238E27FC236}">
                  <a16:creationId xmlns:a16="http://schemas.microsoft.com/office/drawing/2014/main" id="{14004C7A-1205-4483-A39E-62B9A9346A95}"/>
                </a:ext>
              </a:extLst>
            </p:cNvPr>
            <p:cNvSpPr/>
            <p:nvPr userDrawn="1"/>
          </p:nvSpPr>
          <p:spPr>
            <a:xfrm>
              <a:off x="9556184" y="3927979"/>
              <a:ext cx="56788" cy="141970"/>
            </a:xfrm>
            <a:custGeom>
              <a:avLst/>
              <a:gdLst>
                <a:gd name="connsiteX0" fmla="*/ 12777 w 56788"/>
                <a:gd name="connsiteY0" fmla="*/ 154748 h 141970"/>
                <a:gd name="connsiteX1" fmla="*/ 12777 w 56788"/>
                <a:gd name="connsiteY1" fmla="*/ 154748 h 141970"/>
                <a:gd name="connsiteX2" fmla="*/ 65306 w 56788"/>
                <a:gd name="connsiteY2" fmla="*/ 0 h 141970"/>
                <a:gd name="connsiteX3" fmla="*/ 0 w 56788"/>
                <a:gd name="connsiteY3" fmla="*/ 105058 h 141970"/>
                <a:gd name="connsiteX4" fmla="*/ 0 w 56788"/>
                <a:gd name="connsiteY4" fmla="*/ 105058 h 141970"/>
                <a:gd name="connsiteX5" fmla="*/ 12777 w 56788"/>
                <a:gd name="connsiteY5" fmla="*/ 154748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788" h="141970">
                  <a:moveTo>
                    <a:pt x="12777" y="154748"/>
                  </a:moveTo>
                  <a:lnTo>
                    <a:pt x="12777" y="154748"/>
                  </a:lnTo>
                  <a:cubicBezTo>
                    <a:pt x="46850" y="114996"/>
                    <a:pt x="65306" y="0"/>
                    <a:pt x="65306" y="0"/>
                  </a:cubicBezTo>
                  <a:cubicBezTo>
                    <a:pt x="45430" y="56788"/>
                    <a:pt x="0" y="105058"/>
                    <a:pt x="0" y="105058"/>
                  </a:cubicBezTo>
                  <a:cubicBezTo>
                    <a:pt x="0" y="105058"/>
                    <a:pt x="0" y="105058"/>
                    <a:pt x="0" y="105058"/>
                  </a:cubicBezTo>
                  <a:cubicBezTo>
                    <a:pt x="4259" y="122094"/>
                    <a:pt x="8518" y="137711"/>
                    <a:pt x="12777" y="154748"/>
                  </a:cubicBezTo>
                  <a:close/>
                </a:path>
              </a:pathLst>
            </a:custGeom>
            <a:solidFill>
              <a:srgbClr val="B3933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2" name="任意多边形: 形状 10121">
              <a:extLst>
                <a:ext uri="{FF2B5EF4-FFF2-40B4-BE49-F238E27FC236}">
                  <a16:creationId xmlns:a16="http://schemas.microsoft.com/office/drawing/2014/main" id="{FD933B79-FBE6-4ACD-B9F8-0E5C03AE5A29}"/>
                </a:ext>
              </a:extLst>
            </p:cNvPr>
            <p:cNvSpPr/>
            <p:nvPr userDrawn="1"/>
          </p:nvSpPr>
          <p:spPr>
            <a:xfrm>
              <a:off x="9754942" y="4551228"/>
              <a:ext cx="42591" cy="212955"/>
            </a:xfrm>
            <a:custGeom>
              <a:avLst/>
              <a:gdLst>
                <a:gd name="connsiteX0" fmla="*/ 0 w 42591"/>
                <a:gd name="connsiteY0" fmla="*/ 167525 h 212955"/>
                <a:gd name="connsiteX1" fmla="*/ 0 w 42591"/>
                <a:gd name="connsiteY1" fmla="*/ 167525 h 212955"/>
                <a:gd name="connsiteX2" fmla="*/ 17036 w 42591"/>
                <a:gd name="connsiteY2" fmla="*/ 220054 h 212955"/>
                <a:gd name="connsiteX3" fmla="*/ 48270 w 42591"/>
                <a:gd name="connsiteY3" fmla="*/ 0 h 212955"/>
                <a:gd name="connsiteX4" fmla="*/ 0 w 42591"/>
                <a:gd name="connsiteY4" fmla="*/ 167525 h 212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91" h="212955">
                  <a:moveTo>
                    <a:pt x="0" y="167525"/>
                  </a:moveTo>
                  <a:cubicBezTo>
                    <a:pt x="0" y="167525"/>
                    <a:pt x="0" y="167525"/>
                    <a:pt x="0" y="167525"/>
                  </a:cubicBezTo>
                  <a:cubicBezTo>
                    <a:pt x="5679" y="184561"/>
                    <a:pt x="11357" y="203017"/>
                    <a:pt x="17036" y="220054"/>
                  </a:cubicBezTo>
                  <a:cubicBezTo>
                    <a:pt x="44010" y="116416"/>
                    <a:pt x="48270" y="0"/>
                    <a:pt x="48270" y="0"/>
                  </a:cubicBezTo>
                  <a:cubicBezTo>
                    <a:pt x="41171" y="65306"/>
                    <a:pt x="0" y="167525"/>
                    <a:pt x="0" y="167525"/>
                  </a:cubicBezTo>
                  <a:close/>
                </a:path>
              </a:pathLst>
            </a:custGeom>
            <a:solidFill>
              <a:srgbClr val="15162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3" name="任意多边形: 形状 10122">
              <a:extLst>
                <a:ext uri="{FF2B5EF4-FFF2-40B4-BE49-F238E27FC236}">
                  <a16:creationId xmlns:a16="http://schemas.microsoft.com/office/drawing/2014/main" id="{BC3700F4-05AC-40F0-AC42-FF0977F9BF73}"/>
                </a:ext>
              </a:extLst>
            </p:cNvPr>
            <p:cNvSpPr/>
            <p:nvPr userDrawn="1"/>
          </p:nvSpPr>
          <p:spPr>
            <a:xfrm>
              <a:off x="9551925" y="3830019"/>
              <a:ext cx="99379" cy="340728"/>
            </a:xfrm>
            <a:custGeom>
              <a:avLst/>
              <a:gdLst>
                <a:gd name="connsiteX0" fmla="*/ 7099 w 99379"/>
                <a:gd name="connsiteY0" fmla="*/ 346407 h 340728"/>
                <a:gd name="connsiteX1" fmla="*/ 0 w 99379"/>
                <a:gd name="connsiteY1" fmla="*/ 335050 h 340728"/>
                <a:gd name="connsiteX2" fmla="*/ 89441 w 99379"/>
                <a:gd name="connsiteY2" fmla="*/ 204437 h 340728"/>
                <a:gd name="connsiteX3" fmla="*/ 18456 w 99379"/>
                <a:gd name="connsiteY3" fmla="*/ 8518 h 340728"/>
                <a:gd name="connsiteX4" fmla="*/ 29814 w 99379"/>
                <a:gd name="connsiteY4" fmla="*/ 0 h 340728"/>
                <a:gd name="connsiteX5" fmla="*/ 100799 w 99379"/>
                <a:gd name="connsiteY5" fmla="*/ 205857 h 340728"/>
                <a:gd name="connsiteX6" fmla="*/ 7099 w 99379"/>
                <a:gd name="connsiteY6" fmla="*/ 346407 h 340728"/>
                <a:gd name="connsiteX7" fmla="*/ 4259 w 99379"/>
                <a:gd name="connsiteY7" fmla="*/ 340728 h 340728"/>
                <a:gd name="connsiteX8" fmla="*/ 1420 w 99379"/>
                <a:gd name="connsiteY8" fmla="*/ 335050 h 340728"/>
                <a:gd name="connsiteX9" fmla="*/ 1420 w 99379"/>
                <a:gd name="connsiteY9" fmla="*/ 335050 h 340728"/>
                <a:gd name="connsiteX10" fmla="*/ 4259 w 99379"/>
                <a:gd name="connsiteY10" fmla="*/ 340728 h 34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9379" h="340728">
                  <a:moveTo>
                    <a:pt x="7099" y="346407"/>
                  </a:moveTo>
                  <a:lnTo>
                    <a:pt x="0" y="335050"/>
                  </a:lnTo>
                  <a:cubicBezTo>
                    <a:pt x="1420" y="335050"/>
                    <a:pt x="75244" y="288200"/>
                    <a:pt x="89441" y="204437"/>
                  </a:cubicBezTo>
                  <a:cubicBezTo>
                    <a:pt x="99379" y="143390"/>
                    <a:pt x="75244" y="76664"/>
                    <a:pt x="18456" y="8518"/>
                  </a:cubicBezTo>
                  <a:lnTo>
                    <a:pt x="29814" y="0"/>
                  </a:lnTo>
                  <a:cubicBezTo>
                    <a:pt x="88022" y="70985"/>
                    <a:pt x="112156" y="140550"/>
                    <a:pt x="100799" y="205857"/>
                  </a:cubicBezTo>
                  <a:cubicBezTo>
                    <a:pt x="88022" y="296718"/>
                    <a:pt x="11358" y="344988"/>
                    <a:pt x="7099" y="346407"/>
                  </a:cubicBezTo>
                  <a:close/>
                  <a:moveTo>
                    <a:pt x="4259" y="340728"/>
                  </a:moveTo>
                  <a:lnTo>
                    <a:pt x="1420" y="335050"/>
                  </a:lnTo>
                  <a:lnTo>
                    <a:pt x="1420" y="335050"/>
                  </a:lnTo>
                  <a:lnTo>
                    <a:pt x="4259" y="340728"/>
                  </a:lnTo>
                  <a:close/>
                </a:path>
              </a:pathLst>
            </a:custGeom>
            <a:solidFill>
              <a:srgbClr val="32365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4" name="任意多边形: 形状 10123">
              <a:extLst>
                <a:ext uri="{FF2B5EF4-FFF2-40B4-BE49-F238E27FC236}">
                  <a16:creationId xmlns:a16="http://schemas.microsoft.com/office/drawing/2014/main" id="{6FCB3BD2-704C-4471-862C-5A8270D1C037}"/>
                </a:ext>
              </a:extLst>
            </p:cNvPr>
            <p:cNvSpPr/>
            <p:nvPr userDrawn="1"/>
          </p:nvSpPr>
          <p:spPr>
            <a:xfrm>
              <a:off x="9570381" y="3830019"/>
              <a:ext cx="14197" cy="14197"/>
            </a:xfrm>
            <a:custGeom>
              <a:avLst/>
              <a:gdLst>
                <a:gd name="connsiteX0" fmla="*/ 0 w 0"/>
                <a:gd name="connsiteY0" fmla="*/ 8518 h 0"/>
                <a:gd name="connsiteX1" fmla="*/ 11357 w 0"/>
                <a:gd name="connsiteY1" fmla="*/ 0 h 0"/>
                <a:gd name="connsiteX2" fmla="*/ 0 w 0"/>
                <a:gd name="connsiteY2" fmla="*/ 851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8518"/>
                  </a:moveTo>
                  <a:cubicBezTo>
                    <a:pt x="0" y="8518"/>
                    <a:pt x="4259" y="2839"/>
                    <a:pt x="11357" y="0"/>
                  </a:cubicBezTo>
                  <a:cubicBezTo>
                    <a:pt x="12777" y="1420"/>
                    <a:pt x="11357" y="8518"/>
                    <a:pt x="0" y="8518"/>
                  </a:cubicBezTo>
                  <a:close/>
                </a:path>
              </a:pathLst>
            </a:custGeom>
            <a:solidFill>
              <a:srgbClr val="32365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5" name="任意多边形: 形状 10124">
              <a:extLst>
                <a:ext uri="{FF2B5EF4-FFF2-40B4-BE49-F238E27FC236}">
                  <a16:creationId xmlns:a16="http://schemas.microsoft.com/office/drawing/2014/main" id="{F1AB1A71-9D61-4599-807D-1EE1E0C8380E}"/>
                </a:ext>
              </a:extLst>
            </p:cNvPr>
            <p:cNvSpPr/>
            <p:nvPr userDrawn="1"/>
          </p:nvSpPr>
          <p:spPr>
            <a:xfrm>
              <a:off x="9634249" y="3511547"/>
              <a:ext cx="170364" cy="255546"/>
            </a:xfrm>
            <a:custGeom>
              <a:avLst/>
              <a:gdLst>
                <a:gd name="connsiteX0" fmla="*/ 116434 w 170364"/>
                <a:gd name="connsiteY0" fmla="*/ 13237 h 255546"/>
                <a:gd name="connsiteX1" fmla="*/ 168963 w 170364"/>
                <a:gd name="connsiteY1" fmla="*/ 185021 h 255546"/>
                <a:gd name="connsiteX2" fmla="*/ 42610 w 170364"/>
                <a:gd name="connsiteY2" fmla="*/ 233291 h 255546"/>
                <a:gd name="connsiteX3" fmla="*/ 1438 w 170364"/>
                <a:gd name="connsiteY3" fmla="*/ 116875 h 255546"/>
                <a:gd name="connsiteX4" fmla="*/ 116434 w 170364"/>
                <a:gd name="connsiteY4" fmla="*/ 13237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364" h="255546">
                  <a:moveTo>
                    <a:pt x="116434" y="13237"/>
                  </a:moveTo>
                  <a:cubicBezTo>
                    <a:pt x="116434" y="13237"/>
                    <a:pt x="193098" y="62926"/>
                    <a:pt x="168963" y="185021"/>
                  </a:cubicBezTo>
                  <a:cubicBezTo>
                    <a:pt x="143408" y="307115"/>
                    <a:pt x="52547" y="240389"/>
                    <a:pt x="42610" y="233291"/>
                  </a:cubicBezTo>
                  <a:cubicBezTo>
                    <a:pt x="32672" y="226192"/>
                    <a:pt x="2858" y="150948"/>
                    <a:pt x="1438" y="116875"/>
                  </a:cubicBezTo>
                  <a:cubicBezTo>
                    <a:pt x="19" y="85642"/>
                    <a:pt x="-17018" y="-40712"/>
                    <a:pt x="116434" y="13237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6" name="任意多边形: 形状 10125">
              <a:extLst>
                <a:ext uri="{FF2B5EF4-FFF2-40B4-BE49-F238E27FC236}">
                  <a16:creationId xmlns:a16="http://schemas.microsoft.com/office/drawing/2014/main" id="{68A71A24-77EC-4BBF-B20B-92B7DE5D07A5}"/>
                </a:ext>
              </a:extLst>
            </p:cNvPr>
            <p:cNvSpPr/>
            <p:nvPr userDrawn="1"/>
          </p:nvSpPr>
          <p:spPr>
            <a:xfrm>
              <a:off x="9626569" y="3499958"/>
              <a:ext cx="184561" cy="198758"/>
            </a:xfrm>
            <a:custGeom>
              <a:avLst/>
              <a:gdLst>
                <a:gd name="connsiteX0" fmla="*/ 118436 w 184561"/>
                <a:gd name="connsiteY0" fmla="*/ 48960 h 198758"/>
                <a:gd name="connsiteX1" fmla="*/ 68746 w 184561"/>
                <a:gd name="connsiteY1" fmla="*/ 111427 h 198758"/>
                <a:gd name="connsiteX2" fmla="*/ 24735 w 184561"/>
                <a:gd name="connsiteY2" fmla="*/ 192350 h 198758"/>
                <a:gd name="connsiteX3" fmla="*/ 2020 w 184561"/>
                <a:gd name="connsiteY3" fmla="*/ 73095 h 198758"/>
                <a:gd name="connsiteX4" fmla="*/ 119855 w 184561"/>
                <a:gd name="connsiteY4" fmla="*/ 17727 h 198758"/>
                <a:gd name="connsiteX5" fmla="*/ 189421 w 184561"/>
                <a:gd name="connsiteY5" fmla="*/ 154018 h 198758"/>
                <a:gd name="connsiteX6" fmla="*/ 118436 w 184561"/>
                <a:gd name="connsiteY6" fmla="*/ 48960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561" h="198758">
                  <a:moveTo>
                    <a:pt x="118436" y="48960"/>
                  </a:moveTo>
                  <a:cubicBezTo>
                    <a:pt x="109917" y="46121"/>
                    <a:pt x="82943" y="98650"/>
                    <a:pt x="68746" y="111427"/>
                  </a:cubicBezTo>
                  <a:cubicBezTo>
                    <a:pt x="54549" y="124204"/>
                    <a:pt x="27575" y="156858"/>
                    <a:pt x="24735" y="192350"/>
                  </a:cubicBezTo>
                  <a:cubicBezTo>
                    <a:pt x="21896" y="227843"/>
                    <a:pt x="-7918" y="114267"/>
                    <a:pt x="2020" y="73095"/>
                  </a:cubicBezTo>
                  <a:cubicBezTo>
                    <a:pt x="11958" y="30504"/>
                    <a:pt x="26155" y="-30543"/>
                    <a:pt x="119855" y="17727"/>
                  </a:cubicBezTo>
                  <a:cubicBezTo>
                    <a:pt x="213556" y="65997"/>
                    <a:pt x="189421" y="154018"/>
                    <a:pt x="189421" y="154018"/>
                  </a:cubicBezTo>
                  <a:cubicBezTo>
                    <a:pt x="189421" y="154018"/>
                    <a:pt x="159607" y="60318"/>
                    <a:pt x="118436" y="48960"/>
                  </a:cubicBezTo>
                  <a:close/>
                </a:path>
              </a:pathLst>
            </a:custGeom>
            <a:solidFill>
              <a:srgbClr val="3B3B4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7" name="任意多边形: 形状 10126">
              <a:extLst>
                <a:ext uri="{FF2B5EF4-FFF2-40B4-BE49-F238E27FC236}">
                  <a16:creationId xmlns:a16="http://schemas.microsoft.com/office/drawing/2014/main" id="{78263E55-9236-457F-B01C-6643470F6015}"/>
                </a:ext>
              </a:extLst>
            </p:cNvPr>
            <p:cNvSpPr/>
            <p:nvPr userDrawn="1"/>
          </p:nvSpPr>
          <p:spPr>
            <a:xfrm>
              <a:off x="9645625" y="3616017"/>
              <a:ext cx="28394" cy="56788"/>
            </a:xfrm>
            <a:custGeom>
              <a:avLst/>
              <a:gdLst>
                <a:gd name="connsiteX0" fmla="*/ 34073 w 28394"/>
                <a:gd name="connsiteY0" fmla="*/ 16663 h 56788"/>
                <a:gd name="connsiteX1" fmla="*/ 0 w 28394"/>
                <a:gd name="connsiteY1" fmla="*/ 12404 h 56788"/>
                <a:gd name="connsiteX2" fmla="*/ 28394 w 28394"/>
                <a:gd name="connsiteY2" fmla="*/ 57835 h 56788"/>
                <a:gd name="connsiteX3" fmla="*/ 34073 w 28394"/>
                <a:gd name="connsiteY3" fmla="*/ 16663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34073" y="16663"/>
                  </a:moveTo>
                  <a:cubicBezTo>
                    <a:pt x="31234" y="2466"/>
                    <a:pt x="0" y="-10311"/>
                    <a:pt x="0" y="12404"/>
                  </a:cubicBezTo>
                  <a:cubicBezTo>
                    <a:pt x="0" y="33700"/>
                    <a:pt x="18456" y="59254"/>
                    <a:pt x="28394" y="57835"/>
                  </a:cubicBezTo>
                  <a:cubicBezTo>
                    <a:pt x="38332" y="54995"/>
                    <a:pt x="36912" y="29441"/>
                    <a:pt x="34073" y="16663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8" name="任意多边形: 形状 10127">
              <a:extLst>
                <a:ext uri="{FF2B5EF4-FFF2-40B4-BE49-F238E27FC236}">
                  <a16:creationId xmlns:a16="http://schemas.microsoft.com/office/drawing/2014/main" id="{7691DDB3-4607-4DC4-A270-E5B923DAAD73}"/>
                </a:ext>
              </a:extLst>
            </p:cNvPr>
            <p:cNvSpPr/>
            <p:nvPr userDrawn="1"/>
          </p:nvSpPr>
          <p:spPr>
            <a:xfrm>
              <a:off x="9676859" y="3743417"/>
              <a:ext cx="70985" cy="42591"/>
            </a:xfrm>
            <a:custGeom>
              <a:avLst/>
              <a:gdLst>
                <a:gd name="connsiteX0" fmla="*/ 73824 w 70985"/>
                <a:gd name="connsiteY0" fmla="*/ 42591 h 42591"/>
                <a:gd name="connsiteX1" fmla="*/ 73824 w 70985"/>
                <a:gd name="connsiteY1" fmla="*/ 42591 h 42591"/>
                <a:gd name="connsiteX2" fmla="*/ 0 w 70985"/>
                <a:gd name="connsiteY2" fmla="*/ 0 h 42591"/>
                <a:gd name="connsiteX3" fmla="*/ 73824 w 70985"/>
                <a:gd name="connsiteY3" fmla="*/ 24135 h 42591"/>
                <a:gd name="connsiteX4" fmla="*/ 73824 w 70985"/>
                <a:gd name="connsiteY4" fmla="*/ 25555 h 42591"/>
                <a:gd name="connsiteX5" fmla="*/ 73824 w 70985"/>
                <a:gd name="connsiteY5" fmla="*/ 42591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985" h="42591">
                  <a:moveTo>
                    <a:pt x="73824" y="42591"/>
                  </a:moveTo>
                  <a:lnTo>
                    <a:pt x="73824" y="42591"/>
                  </a:lnTo>
                  <a:cubicBezTo>
                    <a:pt x="18456" y="42591"/>
                    <a:pt x="0" y="0"/>
                    <a:pt x="0" y="0"/>
                  </a:cubicBezTo>
                  <a:cubicBezTo>
                    <a:pt x="38332" y="29814"/>
                    <a:pt x="69565" y="24135"/>
                    <a:pt x="73824" y="24135"/>
                  </a:cubicBezTo>
                  <a:cubicBezTo>
                    <a:pt x="73824" y="24135"/>
                    <a:pt x="73824" y="25555"/>
                    <a:pt x="73824" y="25555"/>
                  </a:cubicBezTo>
                  <a:cubicBezTo>
                    <a:pt x="72404" y="34073"/>
                    <a:pt x="72404" y="35493"/>
                    <a:pt x="73824" y="42591"/>
                  </a:cubicBezTo>
                  <a:close/>
                </a:path>
              </a:pathLst>
            </a:custGeom>
            <a:solidFill>
              <a:srgbClr val="A8786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9" name="任意多边形: 形状 10128">
              <a:extLst>
                <a:ext uri="{FF2B5EF4-FFF2-40B4-BE49-F238E27FC236}">
                  <a16:creationId xmlns:a16="http://schemas.microsoft.com/office/drawing/2014/main" id="{92CC1FE0-BBF9-498A-86A1-10F5B86DC5F9}"/>
                </a:ext>
              </a:extLst>
            </p:cNvPr>
            <p:cNvSpPr/>
            <p:nvPr userDrawn="1"/>
          </p:nvSpPr>
          <p:spPr>
            <a:xfrm>
              <a:off x="4849645" y="5042445"/>
              <a:ext cx="255546" cy="113576"/>
            </a:xfrm>
            <a:custGeom>
              <a:avLst/>
              <a:gdLst>
                <a:gd name="connsiteX0" fmla="*/ 200405 w 255546"/>
                <a:gd name="connsiteY0" fmla="*/ 0 h 113576"/>
                <a:gd name="connsiteX1" fmla="*/ 137938 w 255546"/>
                <a:gd name="connsiteY1" fmla="*/ 36912 h 113576"/>
                <a:gd name="connsiteX2" fmla="*/ 3067 w 255546"/>
                <a:gd name="connsiteY2" fmla="*/ 53949 h 113576"/>
                <a:gd name="connsiteX3" fmla="*/ 227 w 255546"/>
                <a:gd name="connsiteY3" fmla="*/ 89441 h 113576"/>
                <a:gd name="connsiteX4" fmla="*/ 193307 w 255546"/>
                <a:gd name="connsiteY4" fmla="*/ 102219 h 113576"/>
                <a:gd name="connsiteX5" fmla="*/ 196146 w 255546"/>
                <a:gd name="connsiteY5" fmla="*/ 112156 h 113576"/>
                <a:gd name="connsiteX6" fmla="*/ 261452 w 255546"/>
                <a:gd name="connsiteY6" fmla="*/ 116416 h 113576"/>
                <a:gd name="connsiteX7" fmla="*/ 262872 w 255546"/>
                <a:gd name="connsiteY7" fmla="*/ 32653 h 113576"/>
                <a:gd name="connsiteX8" fmla="*/ 200405 w 255546"/>
                <a:gd name="connsiteY8" fmla="*/ 0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5546" h="113576">
                  <a:moveTo>
                    <a:pt x="200405" y="0"/>
                  </a:moveTo>
                  <a:cubicBezTo>
                    <a:pt x="200405" y="0"/>
                    <a:pt x="160653" y="35493"/>
                    <a:pt x="137938" y="36912"/>
                  </a:cubicBezTo>
                  <a:cubicBezTo>
                    <a:pt x="115223" y="38332"/>
                    <a:pt x="8745" y="52529"/>
                    <a:pt x="3067" y="53949"/>
                  </a:cubicBezTo>
                  <a:cubicBezTo>
                    <a:pt x="-1193" y="55368"/>
                    <a:pt x="227" y="89441"/>
                    <a:pt x="227" y="89441"/>
                  </a:cubicBezTo>
                  <a:cubicBezTo>
                    <a:pt x="227" y="89441"/>
                    <a:pt x="140778" y="124934"/>
                    <a:pt x="193307" y="102219"/>
                  </a:cubicBezTo>
                  <a:lnTo>
                    <a:pt x="196146" y="112156"/>
                  </a:lnTo>
                  <a:cubicBezTo>
                    <a:pt x="196146" y="112156"/>
                    <a:pt x="258613" y="122094"/>
                    <a:pt x="261452" y="116416"/>
                  </a:cubicBezTo>
                  <a:cubicBezTo>
                    <a:pt x="264292" y="110737"/>
                    <a:pt x="268551" y="52529"/>
                    <a:pt x="262872" y="32653"/>
                  </a:cubicBezTo>
                  <a:cubicBezTo>
                    <a:pt x="255774" y="14197"/>
                    <a:pt x="200405" y="0"/>
                    <a:pt x="200405" y="0"/>
                  </a:cubicBezTo>
                  <a:close/>
                </a:path>
              </a:pathLst>
            </a:custGeom>
            <a:solidFill>
              <a:srgbClr val="452A2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0" name="任意多边形: 形状 10129">
              <a:extLst>
                <a:ext uri="{FF2B5EF4-FFF2-40B4-BE49-F238E27FC236}">
                  <a16:creationId xmlns:a16="http://schemas.microsoft.com/office/drawing/2014/main" id="{368257D0-E074-4B12-AA46-1730CD9E8A06}"/>
                </a:ext>
              </a:extLst>
            </p:cNvPr>
            <p:cNvSpPr/>
            <p:nvPr userDrawn="1"/>
          </p:nvSpPr>
          <p:spPr>
            <a:xfrm>
              <a:off x="5050050" y="5018310"/>
              <a:ext cx="70985" cy="42591"/>
            </a:xfrm>
            <a:custGeom>
              <a:avLst/>
              <a:gdLst>
                <a:gd name="connsiteX0" fmla="*/ 12777 w 70985"/>
                <a:gd name="connsiteY0" fmla="*/ 0 h 42591"/>
                <a:gd name="connsiteX1" fmla="*/ 0 w 70985"/>
                <a:gd name="connsiteY1" fmla="*/ 24135 h 42591"/>
                <a:gd name="connsiteX2" fmla="*/ 62467 w 70985"/>
                <a:gd name="connsiteY2" fmla="*/ 56788 h 42591"/>
                <a:gd name="connsiteX3" fmla="*/ 79503 w 70985"/>
                <a:gd name="connsiteY3" fmla="*/ 34073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985" h="42591">
                  <a:moveTo>
                    <a:pt x="12777" y="0"/>
                  </a:moveTo>
                  <a:lnTo>
                    <a:pt x="0" y="24135"/>
                  </a:lnTo>
                  <a:lnTo>
                    <a:pt x="62467" y="56788"/>
                  </a:lnTo>
                  <a:lnTo>
                    <a:pt x="79503" y="34073"/>
                  </a:lnTo>
                  <a:close/>
                </a:path>
              </a:pathLst>
            </a:custGeom>
            <a:solidFill>
              <a:srgbClr val="0F151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1" name="任意多边形: 形状 10130">
              <a:extLst>
                <a:ext uri="{FF2B5EF4-FFF2-40B4-BE49-F238E27FC236}">
                  <a16:creationId xmlns:a16="http://schemas.microsoft.com/office/drawing/2014/main" id="{230BC8EB-0EEC-439B-BF2D-552F91384738}"/>
                </a:ext>
              </a:extLst>
            </p:cNvPr>
            <p:cNvSpPr/>
            <p:nvPr userDrawn="1"/>
          </p:nvSpPr>
          <p:spPr>
            <a:xfrm>
              <a:off x="4578709" y="4807897"/>
              <a:ext cx="184561" cy="241349"/>
            </a:xfrm>
            <a:custGeom>
              <a:avLst/>
              <a:gdLst>
                <a:gd name="connsiteX0" fmla="*/ 178882 w 184561"/>
                <a:gd name="connsiteY0" fmla="*/ 142267 h 241349"/>
                <a:gd name="connsiteX1" fmla="*/ 117835 w 184561"/>
                <a:gd name="connsiteY1" fmla="*/ 112453 h 241349"/>
                <a:gd name="connsiteX2" fmla="*/ 31233 w 184561"/>
                <a:gd name="connsiteY2" fmla="*/ 297 h 241349"/>
                <a:gd name="connsiteX3" fmla="*/ 0 w 184561"/>
                <a:gd name="connsiteY3" fmla="*/ 15914 h 241349"/>
                <a:gd name="connsiteX4" fmla="*/ 88022 w 184561"/>
                <a:gd name="connsiteY4" fmla="*/ 187698 h 241349"/>
                <a:gd name="connsiteX5" fmla="*/ 80923 w 184561"/>
                <a:gd name="connsiteY5" fmla="*/ 196216 h 241349"/>
                <a:gd name="connsiteX6" fmla="*/ 110737 w 184561"/>
                <a:gd name="connsiteY6" fmla="*/ 254424 h 241349"/>
                <a:gd name="connsiteX7" fmla="*/ 183142 w 184561"/>
                <a:gd name="connsiteY7" fmla="*/ 211833 h 241349"/>
                <a:gd name="connsiteX8" fmla="*/ 178882 w 184561"/>
                <a:gd name="connsiteY8" fmla="*/ 142267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561" h="241349">
                  <a:moveTo>
                    <a:pt x="178882" y="142267"/>
                  </a:moveTo>
                  <a:cubicBezTo>
                    <a:pt x="178882" y="142267"/>
                    <a:pt x="130613" y="130910"/>
                    <a:pt x="117835" y="112453"/>
                  </a:cubicBezTo>
                  <a:cubicBezTo>
                    <a:pt x="105058" y="93997"/>
                    <a:pt x="35493" y="4556"/>
                    <a:pt x="31233" y="297"/>
                  </a:cubicBezTo>
                  <a:cubicBezTo>
                    <a:pt x="26974" y="-2542"/>
                    <a:pt x="0" y="15914"/>
                    <a:pt x="0" y="15914"/>
                  </a:cubicBezTo>
                  <a:cubicBezTo>
                    <a:pt x="0" y="15914"/>
                    <a:pt x="41171" y="155045"/>
                    <a:pt x="88022" y="187698"/>
                  </a:cubicBezTo>
                  <a:lnTo>
                    <a:pt x="80923" y="196216"/>
                  </a:lnTo>
                  <a:cubicBezTo>
                    <a:pt x="80923" y="196216"/>
                    <a:pt x="105058" y="254424"/>
                    <a:pt x="110737" y="254424"/>
                  </a:cubicBezTo>
                  <a:cubicBezTo>
                    <a:pt x="116416" y="254424"/>
                    <a:pt x="168945" y="227449"/>
                    <a:pt x="183142" y="211833"/>
                  </a:cubicBezTo>
                  <a:cubicBezTo>
                    <a:pt x="197339" y="197636"/>
                    <a:pt x="178882" y="142267"/>
                    <a:pt x="178882" y="142267"/>
                  </a:cubicBezTo>
                  <a:close/>
                </a:path>
              </a:pathLst>
            </a:custGeom>
            <a:solidFill>
              <a:srgbClr val="452A2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2" name="任意多边形: 形状 10131">
              <a:extLst>
                <a:ext uri="{FF2B5EF4-FFF2-40B4-BE49-F238E27FC236}">
                  <a16:creationId xmlns:a16="http://schemas.microsoft.com/office/drawing/2014/main" id="{8EAFD33B-F3CB-4E6B-87C1-79B64E974F01}"/>
                </a:ext>
              </a:extLst>
            </p:cNvPr>
            <p:cNvSpPr/>
            <p:nvPr userDrawn="1"/>
          </p:nvSpPr>
          <p:spPr>
            <a:xfrm>
              <a:off x="4757591" y="4948745"/>
              <a:ext cx="28394" cy="70985"/>
            </a:xfrm>
            <a:custGeom>
              <a:avLst/>
              <a:gdLst>
                <a:gd name="connsiteX0" fmla="*/ 28394 w 28394"/>
                <a:gd name="connsiteY0" fmla="*/ 0 h 70985"/>
                <a:gd name="connsiteX1" fmla="*/ 0 w 28394"/>
                <a:gd name="connsiteY1" fmla="*/ 1420 h 70985"/>
                <a:gd name="connsiteX2" fmla="*/ 4259 w 28394"/>
                <a:gd name="connsiteY2" fmla="*/ 72405 h 70985"/>
                <a:gd name="connsiteX3" fmla="*/ 34073 w 28394"/>
                <a:gd name="connsiteY3" fmla="*/ 75244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70985">
                  <a:moveTo>
                    <a:pt x="28394" y="0"/>
                  </a:moveTo>
                  <a:lnTo>
                    <a:pt x="0" y="1420"/>
                  </a:lnTo>
                  <a:lnTo>
                    <a:pt x="4259" y="72405"/>
                  </a:lnTo>
                  <a:lnTo>
                    <a:pt x="34073" y="75244"/>
                  </a:lnTo>
                  <a:close/>
                </a:path>
              </a:pathLst>
            </a:custGeom>
            <a:solidFill>
              <a:srgbClr val="0F151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3" name="任意多边形: 形状 10132">
              <a:extLst>
                <a:ext uri="{FF2B5EF4-FFF2-40B4-BE49-F238E27FC236}">
                  <a16:creationId xmlns:a16="http://schemas.microsoft.com/office/drawing/2014/main" id="{AE48A564-535A-447F-A73A-00D15308C562}"/>
                </a:ext>
              </a:extLst>
            </p:cNvPr>
            <p:cNvSpPr/>
            <p:nvPr userDrawn="1"/>
          </p:nvSpPr>
          <p:spPr>
            <a:xfrm>
              <a:off x="4767529" y="4833749"/>
              <a:ext cx="1050579" cy="198758"/>
            </a:xfrm>
            <a:custGeom>
              <a:avLst/>
              <a:gdLst>
                <a:gd name="connsiteX0" fmla="*/ 0 w 1050579"/>
                <a:gd name="connsiteY0" fmla="*/ 106478 h 198758"/>
                <a:gd name="connsiteX1" fmla="*/ 9938 w 1050579"/>
                <a:gd name="connsiteY1" fmla="*/ 207276 h 198758"/>
                <a:gd name="connsiteX2" fmla="*/ 364863 w 1050579"/>
                <a:gd name="connsiteY2" fmla="*/ 180302 h 198758"/>
                <a:gd name="connsiteX3" fmla="*/ 552264 w 1050579"/>
                <a:gd name="connsiteY3" fmla="*/ 168945 h 198758"/>
                <a:gd name="connsiteX4" fmla="*/ 908609 w 1050579"/>
                <a:gd name="connsiteY4" fmla="*/ 173204 h 198758"/>
                <a:gd name="connsiteX5" fmla="*/ 973916 w 1050579"/>
                <a:gd name="connsiteY5" fmla="*/ 173204 h 198758"/>
                <a:gd name="connsiteX6" fmla="*/ 973916 w 1050579"/>
                <a:gd name="connsiteY6" fmla="*/ 173204 h 198758"/>
                <a:gd name="connsiteX7" fmla="*/ 1047740 w 1050579"/>
                <a:gd name="connsiteY7" fmla="*/ 173204 h 198758"/>
                <a:gd name="connsiteX8" fmla="*/ 769478 w 1050579"/>
                <a:gd name="connsiteY8" fmla="*/ 0 h 198758"/>
                <a:gd name="connsiteX9" fmla="*/ 492637 w 1050579"/>
                <a:gd name="connsiteY9" fmla="*/ 51109 h 198758"/>
                <a:gd name="connsiteX10" fmla="*/ 208696 w 1050579"/>
                <a:gd name="connsiteY10" fmla="*/ 92281 h 198758"/>
                <a:gd name="connsiteX11" fmla="*/ 0 w 1050579"/>
                <a:gd name="connsiteY11" fmla="*/ 106478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0579" h="198758">
                  <a:moveTo>
                    <a:pt x="0" y="106478"/>
                  </a:moveTo>
                  <a:lnTo>
                    <a:pt x="9938" y="207276"/>
                  </a:lnTo>
                  <a:cubicBezTo>
                    <a:pt x="9938" y="207276"/>
                    <a:pt x="306656" y="184561"/>
                    <a:pt x="364863" y="180302"/>
                  </a:cubicBezTo>
                  <a:cubicBezTo>
                    <a:pt x="421651" y="177463"/>
                    <a:pt x="498315" y="166105"/>
                    <a:pt x="552264" y="168945"/>
                  </a:cubicBezTo>
                  <a:cubicBezTo>
                    <a:pt x="586337" y="170364"/>
                    <a:pt x="775157" y="171784"/>
                    <a:pt x="908609" y="173204"/>
                  </a:cubicBezTo>
                  <a:cubicBezTo>
                    <a:pt x="932744" y="173204"/>
                    <a:pt x="954040" y="173204"/>
                    <a:pt x="973916" y="173204"/>
                  </a:cubicBezTo>
                  <a:cubicBezTo>
                    <a:pt x="973916" y="173204"/>
                    <a:pt x="973916" y="173204"/>
                    <a:pt x="973916" y="173204"/>
                  </a:cubicBezTo>
                  <a:cubicBezTo>
                    <a:pt x="1016507" y="173204"/>
                    <a:pt x="1044901" y="173204"/>
                    <a:pt x="1047740" y="173204"/>
                  </a:cubicBezTo>
                  <a:cubicBezTo>
                    <a:pt x="1057678" y="171784"/>
                    <a:pt x="1140021" y="28394"/>
                    <a:pt x="769478" y="0"/>
                  </a:cubicBezTo>
                  <a:cubicBezTo>
                    <a:pt x="769478" y="0"/>
                    <a:pt x="535228" y="44011"/>
                    <a:pt x="492637" y="51109"/>
                  </a:cubicBezTo>
                  <a:cubicBezTo>
                    <a:pt x="450046" y="56788"/>
                    <a:pt x="256966" y="90861"/>
                    <a:pt x="208696" y="92281"/>
                  </a:cubicBezTo>
                  <a:cubicBezTo>
                    <a:pt x="157587" y="92281"/>
                    <a:pt x="0" y="106478"/>
                    <a:pt x="0" y="106478"/>
                  </a:cubicBezTo>
                  <a:close/>
                </a:path>
              </a:pathLst>
            </a:custGeom>
            <a:solidFill>
              <a:srgbClr val="995D3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4" name="任意多边形: 形状 10133">
              <a:extLst>
                <a:ext uri="{FF2B5EF4-FFF2-40B4-BE49-F238E27FC236}">
                  <a16:creationId xmlns:a16="http://schemas.microsoft.com/office/drawing/2014/main" id="{61669022-47CD-4B2D-877E-A76286405A6E}"/>
                </a:ext>
              </a:extLst>
            </p:cNvPr>
            <p:cNvSpPr/>
            <p:nvPr userDrawn="1"/>
          </p:nvSpPr>
          <p:spPr>
            <a:xfrm>
              <a:off x="5830886" y="4598078"/>
              <a:ext cx="241349" cy="28394"/>
            </a:xfrm>
            <a:custGeom>
              <a:avLst/>
              <a:gdLst>
                <a:gd name="connsiteX0" fmla="*/ 0 w 241349"/>
                <a:gd name="connsiteY0" fmla="*/ 38332 h 28394"/>
                <a:gd name="connsiteX1" fmla="*/ 249868 w 241349"/>
                <a:gd name="connsiteY1" fmla="*/ 38332 h 28394"/>
                <a:gd name="connsiteX2" fmla="*/ 237090 w 241349"/>
                <a:gd name="connsiteY2" fmla="*/ 8518 h 28394"/>
                <a:gd name="connsiteX3" fmla="*/ 234251 w 241349"/>
                <a:gd name="connsiteY3" fmla="*/ 0 h 28394"/>
                <a:gd name="connsiteX4" fmla="*/ 1420 w 241349"/>
                <a:gd name="connsiteY4" fmla="*/ 0 h 28394"/>
                <a:gd name="connsiteX5" fmla="*/ 0 w 241349"/>
                <a:gd name="connsiteY5" fmla="*/ 38332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349" h="28394">
                  <a:moveTo>
                    <a:pt x="0" y="38332"/>
                  </a:moveTo>
                  <a:lnTo>
                    <a:pt x="249868" y="38332"/>
                  </a:lnTo>
                  <a:cubicBezTo>
                    <a:pt x="242769" y="19876"/>
                    <a:pt x="237090" y="8518"/>
                    <a:pt x="237090" y="8518"/>
                  </a:cubicBezTo>
                  <a:cubicBezTo>
                    <a:pt x="235671" y="5679"/>
                    <a:pt x="235671" y="2839"/>
                    <a:pt x="234251" y="0"/>
                  </a:cubicBezTo>
                  <a:lnTo>
                    <a:pt x="1420" y="0"/>
                  </a:lnTo>
                  <a:lnTo>
                    <a:pt x="0" y="38332"/>
                  </a:lnTo>
                  <a:close/>
                </a:path>
              </a:pathLst>
            </a:custGeom>
            <a:solidFill>
              <a:srgbClr val="3C639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5" name="任意多边形: 形状 10134">
              <a:extLst>
                <a:ext uri="{FF2B5EF4-FFF2-40B4-BE49-F238E27FC236}">
                  <a16:creationId xmlns:a16="http://schemas.microsoft.com/office/drawing/2014/main" id="{F31E0A76-7270-40DF-9BE2-7F128F6B3B5C}"/>
                </a:ext>
              </a:extLst>
            </p:cNvPr>
            <p:cNvSpPr/>
            <p:nvPr userDrawn="1"/>
          </p:nvSpPr>
          <p:spPr>
            <a:xfrm>
              <a:off x="5578414" y="4299758"/>
              <a:ext cx="354926" cy="582078"/>
            </a:xfrm>
            <a:custGeom>
              <a:avLst/>
              <a:gdLst>
                <a:gd name="connsiteX0" fmla="*/ 106242 w 354925"/>
                <a:gd name="connsiteY0" fmla="*/ 28577 h 582077"/>
                <a:gd name="connsiteX1" fmla="*/ 5444 w 354925"/>
                <a:gd name="connsiteY1" fmla="*/ 79686 h 582077"/>
                <a:gd name="connsiteX2" fmla="*/ 16801 w 354925"/>
                <a:gd name="connsiteY2" fmla="*/ 294061 h 582077"/>
                <a:gd name="connsiteX3" fmla="*/ 15381 w 354925"/>
                <a:gd name="connsiteY3" fmla="*/ 485721 h 582077"/>
                <a:gd name="connsiteX4" fmla="*/ 317778 w 354925"/>
                <a:gd name="connsiteY4" fmla="*/ 592198 h 582077"/>
                <a:gd name="connsiteX5" fmla="*/ 346172 w 354925"/>
                <a:gd name="connsiteY5" fmla="*/ 379243 h 582077"/>
                <a:gd name="connsiteX6" fmla="*/ 356110 w 354925"/>
                <a:gd name="connsiteY6" fmla="*/ 177645 h 582077"/>
                <a:gd name="connsiteX7" fmla="*/ 366048 w 354925"/>
                <a:gd name="connsiteY7" fmla="*/ 41354 h 582077"/>
                <a:gd name="connsiteX8" fmla="*/ 209881 w 354925"/>
                <a:gd name="connsiteY8" fmla="*/ 183 h 582077"/>
                <a:gd name="connsiteX9" fmla="*/ 106242 w 354925"/>
                <a:gd name="connsiteY9" fmla="*/ 28577 h 582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4925" h="582077">
                  <a:moveTo>
                    <a:pt x="106242" y="28577"/>
                  </a:moveTo>
                  <a:cubicBezTo>
                    <a:pt x="106242" y="28577"/>
                    <a:pt x="22480" y="56971"/>
                    <a:pt x="5444" y="79686"/>
                  </a:cubicBezTo>
                  <a:cubicBezTo>
                    <a:pt x="-11593" y="100981"/>
                    <a:pt x="16801" y="294061"/>
                    <a:pt x="16801" y="294061"/>
                  </a:cubicBezTo>
                  <a:lnTo>
                    <a:pt x="15381" y="485721"/>
                  </a:lnTo>
                  <a:cubicBezTo>
                    <a:pt x="15381" y="485721"/>
                    <a:pt x="211300" y="586519"/>
                    <a:pt x="317778" y="592198"/>
                  </a:cubicBezTo>
                  <a:cubicBezTo>
                    <a:pt x="317778" y="592198"/>
                    <a:pt x="347592" y="444549"/>
                    <a:pt x="346172" y="379243"/>
                  </a:cubicBezTo>
                  <a:cubicBezTo>
                    <a:pt x="344752" y="313937"/>
                    <a:pt x="356110" y="177645"/>
                    <a:pt x="356110" y="177645"/>
                  </a:cubicBezTo>
                  <a:cubicBezTo>
                    <a:pt x="356110" y="177645"/>
                    <a:pt x="346172" y="72587"/>
                    <a:pt x="366048" y="41354"/>
                  </a:cubicBezTo>
                  <a:cubicBezTo>
                    <a:pt x="366048" y="41354"/>
                    <a:pt x="251052" y="1602"/>
                    <a:pt x="209881" y="183"/>
                  </a:cubicBezTo>
                  <a:cubicBezTo>
                    <a:pt x="170129" y="-2657"/>
                    <a:pt x="106242" y="28577"/>
                    <a:pt x="106242" y="28577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6" name="任意多边形: 形状 10135">
              <a:extLst>
                <a:ext uri="{FF2B5EF4-FFF2-40B4-BE49-F238E27FC236}">
                  <a16:creationId xmlns:a16="http://schemas.microsoft.com/office/drawing/2014/main" id="{FAE7313D-A8CD-4451-BA07-9EA9A9D9B764}"/>
                </a:ext>
              </a:extLst>
            </p:cNvPr>
            <p:cNvSpPr/>
            <p:nvPr userDrawn="1"/>
          </p:nvSpPr>
          <p:spPr>
            <a:xfrm>
              <a:off x="5825207" y="4338273"/>
              <a:ext cx="298137" cy="369123"/>
            </a:xfrm>
            <a:custGeom>
              <a:avLst/>
              <a:gdLst>
                <a:gd name="connsiteX0" fmla="*/ 120675 w 298137"/>
                <a:gd name="connsiteY0" fmla="*/ 0 h 369122"/>
                <a:gd name="connsiteX1" fmla="*/ 184561 w 298137"/>
                <a:gd name="connsiteY1" fmla="*/ 69565 h 369122"/>
                <a:gd name="connsiteX2" fmla="*/ 300977 w 298137"/>
                <a:gd name="connsiteY2" fmla="*/ 271163 h 369122"/>
                <a:gd name="connsiteX3" fmla="*/ 235671 w 298137"/>
                <a:gd name="connsiteY3" fmla="*/ 318013 h 369122"/>
                <a:gd name="connsiteX4" fmla="*/ 28394 w 298137"/>
                <a:gd name="connsiteY4" fmla="*/ 376221 h 369122"/>
                <a:gd name="connsiteX5" fmla="*/ 0 w 298137"/>
                <a:gd name="connsiteY5" fmla="*/ 312334 h 369122"/>
                <a:gd name="connsiteX6" fmla="*/ 184561 w 298137"/>
                <a:gd name="connsiteY6" fmla="*/ 254127 h 369122"/>
                <a:gd name="connsiteX7" fmla="*/ 110737 w 298137"/>
                <a:gd name="connsiteY7" fmla="*/ 146229 h 369122"/>
                <a:gd name="connsiteX8" fmla="*/ 120675 w 298137"/>
                <a:gd name="connsiteY8" fmla="*/ 0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8137" h="369122">
                  <a:moveTo>
                    <a:pt x="120675" y="0"/>
                  </a:moveTo>
                  <a:cubicBezTo>
                    <a:pt x="120675" y="0"/>
                    <a:pt x="170364" y="48270"/>
                    <a:pt x="184561" y="69565"/>
                  </a:cubicBezTo>
                  <a:cubicBezTo>
                    <a:pt x="201598" y="93700"/>
                    <a:pt x="305236" y="254127"/>
                    <a:pt x="300977" y="271163"/>
                  </a:cubicBezTo>
                  <a:cubicBezTo>
                    <a:pt x="298137" y="289619"/>
                    <a:pt x="282521" y="303816"/>
                    <a:pt x="235671" y="318013"/>
                  </a:cubicBezTo>
                  <a:cubicBezTo>
                    <a:pt x="187401" y="330791"/>
                    <a:pt x="28394" y="376221"/>
                    <a:pt x="28394" y="376221"/>
                  </a:cubicBezTo>
                  <a:lnTo>
                    <a:pt x="0" y="312334"/>
                  </a:lnTo>
                  <a:cubicBezTo>
                    <a:pt x="0" y="312334"/>
                    <a:pt x="166105" y="266904"/>
                    <a:pt x="184561" y="254127"/>
                  </a:cubicBezTo>
                  <a:cubicBezTo>
                    <a:pt x="203017" y="242769"/>
                    <a:pt x="110737" y="146229"/>
                    <a:pt x="110737" y="146229"/>
                  </a:cubicBezTo>
                  <a:cubicBezTo>
                    <a:pt x="110737" y="146229"/>
                    <a:pt x="70985" y="28394"/>
                    <a:pt x="120675" y="0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7" name="任意多边形: 形状 10136">
              <a:extLst>
                <a:ext uri="{FF2B5EF4-FFF2-40B4-BE49-F238E27FC236}">
                  <a16:creationId xmlns:a16="http://schemas.microsoft.com/office/drawing/2014/main" id="{00836333-EF66-45DE-9ED0-1DE7F36C5B3D}"/>
                </a:ext>
              </a:extLst>
            </p:cNvPr>
            <p:cNvSpPr/>
            <p:nvPr userDrawn="1"/>
          </p:nvSpPr>
          <p:spPr>
            <a:xfrm>
              <a:off x="5464825" y="4379384"/>
              <a:ext cx="141970" cy="198758"/>
            </a:xfrm>
            <a:custGeom>
              <a:avLst/>
              <a:gdLst>
                <a:gd name="connsiteX0" fmla="*/ 119033 w 141970"/>
                <a:gd name="connsiteY0" fmla="*/ 60 h 198758"/>
                <a:gd name="connsiteX1" fmla="*/ 1197 w 141970"/>
                <a:gd name="connsiteY1" fmla="*/ 164745 h 198758"/>
                <a:gd name="connsiteX2" fmla="*/ 82120 w 141970"/>
                <a:gd name="connsiteY2" fmla="*/ 207336 h 198758"/>
                <a:gd name="connsiteX3" fmla="*/ 143168 w 141970"/>
                <a:gd name="connsiteY3" fmla="*/ 103698 h 198758"/>
                <a:gd name="connsiteX4" fmla="*/ 119033 w 141970"/>
                <a:gd name="connsiteY4" fmla="*/ 60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970" h="198758">
                  <a:moveTo>
                    <a:pt x="119033" y="60"/>
                  </a:moveTo>
                  <a:cubicBezTo>
                    <a:pt x="119033" y="60"/>
                    <a:pt x="13975" y="150548"/>
                    <a:pt x="1197" y="164745"/>
                  </a:cubicBezTo>
                  <a:cubicBezTo>
                    <a:pt x="-11580" y="178942"/>
                    <a:pt x="82120" y="207336"/>
                    <a:pt x="82120" y="207336"/>
                  </a:cubicBezTo>
                  <a:cubicBezTo>
                    <a:pt x="82120" y="207336"/>
                    <a:pt x="130390" y="110796"/>
                    <a:pt x="143168" y="103698"/>
                  </a:cubicBezTo>
                  <a:cubicBezTo>
                    <a:pt x="157365" y="96599"/>
                    <a:pt x="161624" y="-2780"/>
                    <a:pt x="119033" y="60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8" name="任意多边形: 形状 10137">
              <a:extLst>
                <a:ext uri="{FF2B5EF4-FFF2-40B4-BE49-F238E27FC236}">
                  <a16:creationId xmlns:a16="http://schemas.microsoft.com/office/drawing/2014/main" id="{154CB66F-4C4C-4C3B-9B15-166BD4B9166F}"/>
                </a:ext>
              </a:extLst>
            </p:cNvPr>
            <p:cNvSpPr/>
            <p:nvPr userDrawn="1"/>
          </p:nvSpPr>
          <p:spPr>
            <a:xfrm>
              <a:off x="5041531" y="4670275"/>
              <a:ext cx="851821" cy="397517"/>
            </a:xfrm>
            <a:custGeom>
              <a:avLst/>
              <a:gdLst>
                <a:gd name="connsiteX0" fmla="*/ 854661 w 851821"/>
                <a:gd name="connsiteY0" fmla="*/ 245816 h 397516"/>
                <a:gd name="connsiteX1" fmla="*/ 793613 w 851821"/>
                <a:gd name="connsiteY1" fmla="*/ 343775 h 397516"/>
                <a:gd name="connsiteX2" fmla="*/ 552264 w 851821"/>
                <a:gd name="connsiteY2" fmla="*/ 278469 h 397516"/>
                <a:gd name="connsiteX3" fmla="*/ 300977 w 851821"/>
                <a:gd name="connsiteY3" fmla="*/ 177670 h 397516"/>
                <a:gd name="connsiteX4" fmla="*/ 102219 w 851821"/>
                <a:gd name="connsiteY4" fmla="*/ 407662 h 397516"/>
                <a:gd name="connsiteX5" fmla="*/ 0 w 851821"/>
                <a:gd name="connsiteY5" fmla="*/ 360812 h 397516"/>
                <a:gd name="connsiteX6" fmla="*/ 198758 w 851821"/>
                <a:gd name="connsiteY6" fmla="*/ 79711 h 397516"/>
                <a:gd name="connsiteX7" fmla="*/ 283940 w 851821"/>
                <a:gd name="connsiteY7" fmla="*/ 208 h 397516"/>
                <a:gd name="connsiteX8" fmla="*/ 854661 w 851821"/>
                <a:gd name="connsiteY8" fmla="*/ 200386 h 397516"/>
                <a:gd name="connsiteX9" fmla="*/ 854661 w 851821"/>
                <a:gd name="connsiteY9" fmla="*/ 245816 h 39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1821" h="397516">
                  <a:moveTo>
                    <a:pt x="854661" y="245816"/>
                  </a:moveTo>
                  <a:cubicBezTo>
                    <a:pt x="854661" y="245816"/>
                    <a:pt x="861759" y="335257"/>
                    <a:pt x="793613" y="343775"/>
                  </a:cubicBezTo>
                  <a:cubicBezTo>
                    <a:pt x="725468" y="350874"/>
                    <a:pt x="650224" y="329578"/>
                    <a:pt x="552264" y="278469"/>
                  </a:cubicBezTo>
                  <a:cubicBezTo>
                    <a:pt x="454305" y="225940"/>
                    <a:pt x="323692" y="167732"/>
                    <a:pt x="300977" y="177670"/>
                  </a:cubicBezTo>
                  <a:cubicBezTo>
                    <a:pt x="278262" y="187608"/>
                    <a:pt x="102219" y="407662"/>
                    <a:pt x="102219" y="407662"/>
                  </a:cubicBezTo>
                  <a:lnTo>
                    <a:pt x="0" y="360812"/>
                  </a:lnTo>
                  <a:cubicBezTo>
                    <a:pt x="0" y="360812"/>
                    <a:pt x="190240" y="102426"/>
                    <a:pt x="198758" y="79711"/>
                  </a:cubicBezTo>
                  <a:cubicBezTo>
                    <a:pt x="207277" y="58415"/>
                    <a:pt x="244189" y="-4052"/>
                    <a:pt x="283940" y="208"/>
                  </a:cubicBezTo>
                  <a:cubicBezTo>
                    <a:pt x="322272" y="4467"/>
                    <a:pt x="854661" y="200386"/>
                    <a:pt x="854661" y="200386"/>
                  </a:cubicBezTo>
                  <a:lnTo>
                    <a:pt x="854661" y="245816"/>
                  </a:lnTo>
                  <a:close/>
                </a:path>
              </a:pathLst>
            </a:custGeom>
            <a:solidFill>
              <a:srgbClr val="A3633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9" name="任意多边形: 形状 10138">
              <a:extLst>
                <a:ext uri="{FF2B5EF4-FFF2-40B4-BE49-F238E27FC236}">
                  <a16:creationId xmlns:a16="http://schemas.microsoft.com/office/drawing/2014/main" id="{1AB554C6-C7C9-472D-81CB-7C3B4F9D994B}"/>
                </a:ext>
              </a:extLst>
            </p:cNvPr>
            <p:cNvSpPr/>
            <p:nvPr userDrawn="1"/>
          </p:nvSpPr>
          <p:spPr>
            <a:xfrm>
              <a:off x="5601097" y="4025955"/>
              <a:ext cx="184561" cy="269743"/>
            </a:xfrm>
            <a:custGeom>
              <a:avLst/>
              <a:gdLst>
                <a:gd name="connsiteX0" fmla="*/ 65104 w 184561"/>
                <a:gd name="connsiteY0" fmla="*/ 1403 h 269743"/>
                <a:gd name="connsiteX1" fmla="*/ 4057 w 184561"/>
                <a:gd name="connsiteY1" fmla="*/ 141953 h 269743"/>
                <a:gd name="connsiteX2" fmla="*/ 104855 w 184561"/>
                <a:gd name="connsiteY2" fmla="*/ 272566 h 269743"/>
                <a:gd name="connsiteX3" fmla="*/ 177260 w 184561"/>
                <a:gd name="connsiteY3" fmla="*/ 183125 h 269743"/>
                <a:gd name="connsiteX4" fmla="*/ 177260 w 184561"/>
                <a:gd name="connsiteY4" fmla="*/ 32636 h 269743"/>
                <a:gd name="connsiteX5" fmla="*/ 65104 w 184561"/>
                <a:gd name="connsiteY5" fmla="*/ 1403 h 26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4561" h="269743">
                  <a:moveTo>
                    <a:pt x="65104" y="1403"/>
                  </a:moveTo>
                  <a:cubicBezTo>
                    <a:pt x="26772" y="5662"/>
                    <a:pt x="-12980" y="55352"/>
                    <a:pt x="4057" y="141953"/>
                  </a:cubicBezTo>
                  <a:cubicBezTo>
                    <a:pt x="21093" y="228555"/>
                    <a:pt x="65104" y="276825"/>
                    <a:pt x="104855" y="272566"/>
                  </a:cubicBezTo>
                  <a:cubicBezTo>
                    <a:pt x="144607" y="266887"/>
                    <a:pt x="155965" y="232814"/>
                    <a:pt x="177260" y="183125"/>
                  </a:cubicBezTo>
                  <a:cubicBezTo>
                    <a:pt x="197136" y="133435"/>
                    <a:pt x="197136" y="46833"/>
                    <a:pt x="177260" y="32636"/>
                  </a:cubicBezTo>
                  <a:cubicBezTo>
                    <a:pt x="155965" y="15600"/>
                    <a:pt x="138928" y="-5696"/>
                    <a:pt x="65104" y="1403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0" name="任意多边形: 形状 10139">
              <a:extLst>
                <a:ext uri="{FF2B5EF4-FFF2-40B4-BE49-F238E27FC236}">
                  <a16:creationId xmlns:a16="http://schemas.microsoft.com/office/drawing/2014/main" id="{B7B55D01-FA75-4F0B-86E9-747BA357770C}"/>
                </a:ext>
              </a:extLst>
            </p:cNvPr>
            <p:cNvSpPr/>
            <p:nvPr userDrawn="1"/>
          </p:nvSpPr>
          <p:spPr>
            <a:xfrm>
              <a:off x="5680397" y="4177484"/>
              <a:ext cx="99379" cy="170364"/>
            </a:xfrm>
            <a:custGeom>
              <a:avLst/>
              <a:gdLst>
                <a:gd name="connsiteX0" fmla="*/ 0 w 99379"/>
                <a:gd name="connsiteY0" fmla="*/ 106840 h 170364"/>
                <a:gd name="connsiteX1" fmla="*/ 8518 w 99379"/>
                <a:gd name="connsiteY1" fmla="*/ 166468 h 170364"/>
                <a:gd name="connsiteX2" fmla="*/ 109317 w 99379"/>
                <a:gd name="connsiteY2" fmla="*/ 140913 h 170364"/>
                <a:gd name="connsiteX3" fmla="*/ 106478 w 99379"/>
                <a:gd name="connsiteY3" fmla="*/ 10300 h 170364"/>
                <a:gd name="connsiteX4" fmla="*/ 0 w 99379"/>
                <a:gd name="connsiteY4" fmla="*/ 106840 h 17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79" h="170364">
                  <a:moveTo>
                    <a:pt x="0" y="106840"/>
                  </a:moveTo>
                  <a:cubicBezTo>
                    <a:pt x="0" y="106840"/>
                    <a:pt x="9938" y="145172"/>
                    <a:pt x="8518" y="166468"/>
                  </a:cubicBezTo>
                  <a:cubicBezTo>
                    <a:pt x="8518" y="166468"/>
                    <a:pt x="68146" y="192022"/>
                    <a:pt x="109317" y="140913"/>
                  </a:cubicBezTo>
                  <a:cubicBezTo>
                    <a:pt x="109317" y="140913"/>
                    <a:pt x="93700" y="59990"/>
                    <a:pt x="106478" y="10300"/>
                  </a:cubicBezTo>
                  <a:cubicBezTo>
                    <a:pt x="117835" y="-39389"/>
                    <a:pt x="0" y="106840"/>
                    <a:pt x="0" y="106840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1" name="任意多边形: 形状 10140">
              <a:extLst>
                <a:ext uri="{FF2B5EF4-FFF2-40B4-BE49-F238E27FC236}">
                  <a16:creationId xmlns:a16="http://schemas.microsoft.com/office/drawing/2014/main" id="{4AE7E0E3-CFF5-4750-A7D4-909986127502}"/>
                </a:ext>
              </a:extLst>
            </p:cNvPr>
            <p:cNvSpPr/>
            <p:nvPr userDrawn="1"/>
          </p:nvSpPr>
          <p:spPr>
            <a:xfrm>
              <a:off x="5598121" y="4022414"/>
              <a:ext cx="198758" cy="184561"/>
            </a:xfrm>
            <a:custGeom>
              <a:avLst/>
              <a:gdLst>
                <a:gd name="connsiteX0" fmla="*/ 2773 w 198758"/>
                <a:gd name="connsiteY0" fmla="*/ 141236 h 184561"/>
                <a:gd name="connsiteX1" fmla="*/ 83696 w 198758"/>
                <a:gd name="connsiteY1" fmla="*/ 110002 h 184561"/>
                <a:gd name="connsiteX2" fmla="*/ 130546 w 198758"/>
                <a:gd name="connsiteY2" fmla="*/ 144075 h 184561"/>
                <a:gd name="connsiteX3" fmla="*/ 147583 w 198758"/>
                <a:gd name="connsiteY3" fmla="*/ 151174 h 184561"/>
                <a:gd name="connsiteX4" fmla="*/ 183075 w 198758"/>
                <a:gd name="connsiteY4" fmla="*/ 185246 h 184561"/>
                <a:gd name="connsiteX5" fmla="*/ 204371 w 198758"/>
                <a:gd name="connsiteY5" fmla="*/ 74510 h 184561"/>
                <a:gd name="connsiteX6" fmla="*/ 73758 w 198758"/>
                <a:gd name="connsiteY6" fmla="*/ 685 h 184561"/>
                <a:gd name="connsiteX7" fmla="*/ 2773 w 198758"/>
                <a:gd name="connsiteY7" fmla="*/ 141236 h 18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758" h="184561">
                  <a:moveTo>
                    <a:pt x="2773" y="141236"/>
                  </a:moveTo>
                  <a:cubicBezTo>
                    <a:pt x="2773" y="141236"/>
                    <a:pt x="56722" y="114261"/>
                    <a:pt x="83696" y="110002"/>
                  </a:cubicBezTo>
                  <a:cubicBezTo>
                    <a:pt x="112090" y="105743"/>
                    <a:pt x="137645" y="117101"/>
                    <a:pt x="130546" y="144075"/>
                  </a:cubicBezTo>
                  <a:lnTo>
                    <a:pt x="147583" y="151174"/>
                  </a:lnTo>
                  <a:cubicBezTo>
                    <a:pt x="147583" y="151174"/>
                    <a:pt x="178816" y="166790"/>
                    <a:pt x="183075" y="185246"/>
                  </a:cubicBezTo>
                  <a:cubicBezTo>
                    <a:pt x="183075" y="185246"/>
                    <a:pt x="202951" y="102904"/>
                    <a:pt x="204371" y="74510"/>
                  </a:cubicBezTo>
                  <a:cubicBezTo>
                    <a:pt x="205791" y="43276"/>
                    <a:pt x="173137" y="-6413"/>
                    <a:pt x="73758" y="685"/>
                  </a:cubicBezTo>
                  <a:cubicBezTo>
                    <a:pt x="-24201" y="4944"/>
                    <a:pt x="4193" y="128458"/>
                    <a:pt x="2773" y="141236"/>
                  </a:cubicBezTo>
                  <a:close/>
                </a:path>
              </a:pathLst>
            </a:custGeom>
            <a:solidFill>
              <a:srgbClr val="283B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2" name="任意多边形: 形状 10141">
              <a:extLst>
                <a:ext uri="{FF2B5EF4-FFF2-40B4-BE49-F238E27FC236}">
                  <a16:creationId xmlns:a16="http://schemas.microsoft.com/office/drawing/2014/main" id="{CF19A26C-46E3-4DC1-8154-D1CC97ED477C}"/>
                </a:ext>
              </a:extLst>
            </p:cNvPr>
            <p:cNvSpPr/>
            <p:nvPr userDrawn="1"/>
          </p:nvSpPr>
          <p:spPr>
            <a:xfrm>
              <a:off x="5738824" y="4134519"/>
              <a:ext cx="28394" cy="56788"/>
            </a:xfrm>
            <a:custGeom>
              <a:avLst/>
              <a:gdLst>
                <a:gd name="connsiteX0" fmla="*/ 2621 w 28394"/>
                <a:gd name="connsiteY0" fmla="*/ 19192 h 56788"/>
                <a:gd name="connsiteX1" fmla="*/ 32435 w 28394"/>
                <a:gd name="connsiteY1" fmla="*/ 7835 h 56788"/>
                <a:gd name="connsiteX2" fmla="*/ 9719 w 28394"/>
                <a:gd name="connsiteY2" fmla="*/ 57524 h 56788"/>
                <a:gd name="connsiteX3" fmla="*/ 2621 w 28394"/>
                <a:gd name="connsiteY3" fmla="*/ 19192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621" y="19192"/>
                  </a:moveTo>
                  <a:cubicBezTo>
                    <a:pt x="5460" y="7835"/>
                    <a:pt x="22497" y="-10621"/>
                    <a:pt x="32435" y="7835"/>
                  </a:cubicBezTo>
                  <a:cubicBezTo>
                    <a:pt x="42373" y="26291"/>
                    <a:pt x="21077" y="57524"/>
                    <a:pt x="9719" y="57524"/>
                  </a:cubicBezTo>
                  <a:cubicBezTo>
                    <a:pt x="-1638" y="57524"/>
                    <a:pt x="-1638" y="34809"/>
                    <a:pt x="2621" y="1919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3" name="任意多边形: 形状 10142">
              <a:extLst>
                <a:ext uri="{FF2B5EF4-FFF2-40B4-BE49-F238E27FC236}">
                  <a16:creationId xmlns:a16="http://schemas.microsoft.com/office/drawing/2014/main" id="{A4EAED12-3DC7-4937-96B3-CE373FF26608}"/>
                </a:ext>
              </a:extLst>
            </p:cNvPr>
            <p:cNvSpPr/>
            <p:nvPr userDrawn="1"/>
          </p:nvSpPr>
          <p:spPr>
            <a:xfrm>
              <a:off x="5483059" y="4457625"/>
              <a:ext cx="582078" cy="454305"/>
            </a:xfrm>
            <a:custGeom>
              <a:avLst/>
              <a:gdLst>
                <a:gd name="connsiteX0" fmla="*/ 15617 w 582077"/>
                <a:gd name="connsiteY0" fmla="*/ 68049 h 454304"/>
                <a:gd name="connsiteX1" fmla="*/ 173204 w 582077"/>
                <a:gd name="connsiteY1" fmla="*/ 28297 h 454304"/>
                <a:gd name="connsiteX2" fmla="*/ 454305 w 582077"/>
                <a:gd name="connsiteY2" fmla="*/ 70888 h 454304"/>
                <a:gd name="connsiteX3" fmla="*/ 572140 w 582077"/>
                <a:gd name="connsiteY3" fmla="*/ 337792 h 454304"/>
                <a:gd name="connsiteX4" fmla="*/ 570720 w 582077"/>
                <a:gd name="connsiteY4" fmla="*/ 342051 h 454304"/>
                <a:gd name="connsiteX5" fmla="*/ 549425 w 582077"/>
                <a:gd name="connsiteY5" fmla="*/ 381803 h 454304"/>
                <a:gd name="connsiteX6" fmla="*/ 299557 w 582077"/>
                <a:gd name="connsiteY6" fmla="*/ 451368 h 454304"/>
                <a:gd name="connsiteX7" fmla="*/ 69565 w 582077"/>
                <a:gd name="connsiteY7" fmla="*/ 282424 h 454304"/>
                <a:gd name="connsiteX8" fmla="*/ 89441 w 582077"/>
                <a:gd name="connsiteY8" fmla="*/ 166008 h 454304"/>
                <a:gd name="connsiteX9" fmla="*/ 0 w 582077"/>
                <a:gd name="connsiteY9" fmla="*/ 102122 h 454304"/>
                <a:gd name="connsiteX10" fmla="*/ 15617 w 582077"/>
                <a:gd name="connsiteY10" fmla="*/ 68049 h 454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2077" h="454304">
                  <a:moveTo>
                    <a:pt x="15617" y="68049"/>
                  </a:moveTo>
                  <a:cubicBezTo>
                    <a:pt x="38332" y="25458"/>
                    <a:pt x="89441" y="-37009"/>
                    <a:pt x="173204" y="28297"/>
                  </a:cubicBezTo>
                  <a:cubicBezTo>
                    <a:pt x="292459" y="119158"/>
                    <a:pt x="305236" y="11261"/>
                    <a:pt x="454305" y="70888"/>
                  </a:cubicBezTo>
                  <a:cubicBezTo>
                    <a:pt x="559363" y="112060"/>
                    <a:pt x="618990" y="224216"/>
                    <a:pt x="572140" y="337792"/>
                  </a:cubicBezTo>
                  <a:lnTo>
                    <a:pt x="570720" y="342051"/>
                  </a:lnTo>
                  <a:cubicBezTo>
                    <a:pt x="565041" y="356248"/>
                    <a:pt x="557943" y="369026"/>
                    <a:pt x="549425" y="381803"/>
                  </a:cubicBezTo>
                  <a:cubicBezTo>
                    <a:pt x="494056" y="464146"/>
                    <a:pt x="391838" y="488281"/>
                    <a:pt x="299557" y="451368"/>
                  </a:cubicBezTo>
                  <a:cubicBezTo>
                    <a:pt x="150488" y="393161"/>
                    <a:pt x="185981" y="298041"/>
                    <a:pt x="69565" y="282424"/>
                  </a:cubicBezTo>
                  <a:cubicBezTo>
                    <a:pt x="-61047" y="265387"/>
                    <a:pt x="89441" y="166008"/>
                    <a:pt x="89441" y="166008"/>
                  </a:cubicBezTo>
                  <a:lnTo>
                    <a:pt x="0" y="102122"/>
                  </a:lnTo>
                  <a:cubicBezTo>
                    <a:pt x="1420" y="100702"/>
                    <a:pt x="7099" y="86505"/>
                    <a:pt x="15617" y="68049"/>
                  </a:cubicBezTo>
                  <a:close/>
                </a:path>
              </a:pathLst>
            </a:custGeom>
            <a:solidFill>
              <a:srgbClr val="FCBC7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4" name="任意多边形: 形状 10143">
              <a:extLst>
                <a:ext uri="{FF2B5EF4-FFF2-40B4-BE49-F238E27FC236}">
                  <a16:creationId xmlns:a16="http://schemas.microsoft.com/office/drawing/2014/main" id="{731E4ED4-4A5F-464D-87A0-8CE7030B98CE}"/>
                </a:ext>
              </a:extLst>
            </p:cNvPr>
            <p:cNvSpPr/>
            <p:nvPr userDrawn="1"/>
          </p:nvSpPr>
          <p:spPr>
            <a:xfrm>
              <a:off x="5477380" y="4449466"/>
              <a:ext cx="596275" cy="468502"/>
            </a:xfrm>
            <a:custGeom>
              <a:avLst/>
              <a:gdLst>
                <a:gd name="connsiteX0" fmla="*/ 2839 w 596274"/>
                <a:gd name="connsiteY0" fmla="*/ 100342 h 468501"/>
                <a:gd name="connsiteX1" fmla="*/ 1420 w 596274"/>
                <a:gd name="connsiteY1" fmla="*/ 106021 h 468501"/>
                <a:gd name="connsiteX2" fmla="*/ 0 w 596274"/>
                <a:gd name="connsiteY2" fmla="*/ 110280 h 468501"/>
                <a:gd name="connsiteX3" fmla="*/ 85182 w 596274"/>
                <a:gd name="connsiteY3" fmla="*/ 171327 h 468501"/>
                <a:gd name="connsiteX4" fmla="*/ 18456 w 596274"/>
                <a:gd name="connsiteY4" fmla="*/ 263608 h 468501"/>
                <a:gd name="connsiteX5" fmla="*/ 78084 w 596274"/>
                <a:gd name="connsiteY5" fmla="*/ 296261 h 468501"/>
                <a:gd name="connsiteX6" fmla="*/ 174623 w 596274"/>
                <a:gd name="connsiteY6" fmla="*/ 361568 h 468501"/>
                <a:gd name="connsiteX7" fmla="*/ 306656 w 596274"/>
                <a:gd name="connsiteY7" fmla="*/ 465206 h 468501"/>
                <a:gd name="connsiteX8" fmla="*/ 565041 w 596274"/>
                <a:gd name="connsiteY8" fmla="*/ 392801 h 468501"/>
                <a:gd name="connsiteX9" fmla="*/ 583498 w 596274"/>
                <a:gd name="connsiteY9" fmla="*/ 357308 h 468501"/>
                <a:gd name="connsiteX10" fmla="*/ 586337 w 596274"/>
                <a:gd name="connsiteY10" fmla="*/ 351630 h 468501"/>
                <a:gd name="connsiteX11" fmla="*/ 587757 w 596274"/>
                <a:gd name="connsiteY11" fmla="*/ 347371 h 468501"/>
                <a:gd name="connsiteX12" fmla="*/ 584917 w 596274"/>
                <a:gd name="connsiteY12" fmla="*/ 181265 h 468501"/>
                <a:gd name="connsiteX13" fmla="*/ 464243 w 596274"/>
                <a:gd name="connsiteY13" fmla="*/ 70529 h 468501"/>
                <a:gd name="connsiteX14" fmla="*/ 313754 w 596274"/>
                <a:gd name="connsiteY14" fmla="*/ 59171 h 468501"/>
                <a:gd name="connsiteX15" fmla="*/ 184561 w 596274"/>
                <a:gd name="connsiteY15" fmla="*/ 29357 h 468501"/>
                <a:gd name="connsiteX16" fmla="*/ 96540 w 596274"/>
                <a:gd name="connsiteY16" fmla="*/ 963 h 468501"/>
                <a:gd name="connsiteX17" fmla="*/ 14197 w 596274"/>
                <a:gd name="connsiteY17" fmla="*/ 71948 h 468501"/>
                <a:gd name="connsiteX18" fmla="*/ 2839 w 596274"/>
                <a:gd name="connsiteY18" fmla="*/ 100342 h 468501"/>
                <a:gd name="connsiteX19" fmla="*/ 51109 w 596274"/>
                <a:gd name="connsiteY19" fmla="*/ 131576 h 468501"/>
                <a:gd name="connsiteX20" fmla="*/ 15617 w 596274"/>
                <a:gd name="connsiteY20" fmla="*/ 106021 h 468501"/>
                <a:gd name="connsiteX21" fmla="*/ 17036 w 596274"/>
                <a:gd name="connsiteY21" fmla="*/ 101762 h 468501"/>
                <a:gd name="connsiteX22" fmla="*/ 26974 w 596274"/>
                <a:gd name="connsiteY22" fmla="*/ 79047 h 468501"/>
                <a:gd name="connsiteX23" fmla="*/ 99379 w 596274"/>
                <a:gd name="connsiteY23" fmla="*/ 15160 h 468501"/>
                <a:gd name="connsiteX24" fmla="*/ 174623 w 596274"/>
                <a:gd name="connsiteY24" fmla="*/ 40715 h 468501"/>
                <a:gd name="connsiteX25" fmla="*/ 318013 w 596274"/>
                <a:gd name="connsiteY25" fmla="*/ 73368 h 468501"/>
                <a:gd name="connsiteX26" fmla="*/ 458564 w 596274"/>
                <a:gd name="connsiteY26" fmla="*/ 83306 h 468501"/>
                <a:gd name="connsiteX27" fmla="*/ 572140 w 596274"/>
                <a:gd name="connsiteY27" fmla="*/ 341692 h 468501"/>
                <a:gd name="connsiteX28" fmla="*/ 570720 w 596274"/>
                <a:gd name="connsiteY28" fmla="*/ 345951 h 468501"/>
                <a:gd name="connsiteX29" fmla="*/ 569301 w 596274"/>
                <a:gd name="connsiteY29" fmla="*/ 348790 h 468501"/>
                <a:gd name="connsiteX30" fmla="*/ 549425 w 596274"/>
                <a:gd name="connsiteY30" fmla="*/ 384283 h 468501"/>
                <a:gd name="connsiteX31" fmla="*/ 309495 w 596274"/>
                <a:gd name="connsiteY31" fmla="*/ 451009 h 468501"/>
                <a:gd name="connsiteX32" fmla="*/ 184561 w 596274"/>
                <a:gd name="connsiteY32" fmla="*/ 353049 h 468501"/>
                <a:gd name="connsiteX33" fmla="*/ 76664 w 596274"/>
                <a:gd name="connsiteY33" fmla="*/ 282064 h 468501"/>
                <a:gd name="connsiteX34" fmla="*/ 29814 w 596274"/>
                <a:gd name="connsiteY34" fmla="*/ 260769 h 468501"/>
                <a:gd name="connsiteX35" fmla="*/ 99379 w 596274"/>
                <a:gd name="connsiteY35" fmla="*/ 178426 h 468501"/>
                <a:gd name="connsiteX36" fmla="*/ 107897 w 596274"/>
                <a:gd name="connsiteY36" fmla="*/ 172747 h 468501"/>
                <a:gd name="connsiteX37" fmla="*/ 51109 w 596274"/>
                <a:gd name="connsiteY37" fmla="*/ 131576 h 46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96274" h="468501">
                  <a:moveTo>
                    <a:pt x="2839" y="100342"/>
                  </a:moveTo>
                  <a:cubicBezTo>
                    <a:pt x="1420" y="103182"/>
                    <a:pt x="1420" y="106021"/>
                    <a:pt x="1420" y="106021"/>
                  </a:cubicBezTo>
                  <a:lnTo>
                    <a:pt x="0" y="110280"/>
                  </a:lnTo>
                  <a:lnTo>
                    <a:pt x="85182" y="171327"/>
                  </a:lnTo>
                  <a:cubicBezTo>
                    <a:pt x="62467" y="186944"/>
                    <a:pt x="8518" y="229535"/>
                    <a:pt x="18456" y="263608"/>
                  </a:cubicBezTo>
                  <a:cubicBezTo>
                    <a:pt x="24135" y="280644"/>
                    <a:pt x="44011" y="290582"/>
                    <a:pt x="78084" y="296261"/>
                  </a:cubicBezTo>
                  <a:cubicBezTo>
                    <a:pt x="132032" y="303360"/>
                    <a:pt x="151908" y="328914"/>
                    <a:pt x="174623" y="361568"/>
                  </a:cubicBezTo>
                  <a:cubicBezTo>
                    <a:pt x="198758" y="394221"/>
                    <a:pt x="228572" y="435392"/>
                    <a:pt x="306656" y="465206"/>
                  </a:cubicBezTo>
                  <a:cubicBezTo>
                    <a:pt x="406035" y="504957"/>
                    <a:pt x="509673" y="475144"/>
                    <a:pt x="565041" y="392801"/>
                  </a:cubicBezTo>
                  <a:cubicBezTo>
                    <a:pt x="572140" y="381443"/>
                    <a:pt x="579238" y="370086"/>
                    <a:pt x="583498" y="357308"/>
                  </a:cubicBezTo>
                  <a:cubicBezTo>
                    <a:pt x="584917" y="355889"/>
                    <a:pt x="584917" y="353049"/>
                    <a:pt x="586337" y="351630"/>
                  </a:cubicBezTo>
                  <a:lnTo>
                    <a:pt x="587757" y="347371"/>
                  </a:lnTo>
                  <a:cubicBezTo>
                    <a:pt x="610472" y="292002"/>
                    <a:pt x="609052" y="232375"/>
                    <a:pt x="584917" y="181265"/>
                  </a:cubicBezTo>
                  <a:cubicBezTo>
                    <a:pt x="562202" y="131576"/>
                    <a:pt x="519611" y="91824"/>
                    <a:pt x="464243" y="70529"/>
                  </a:cubicBezTo>
                  <a:cubicBezTo>
                    <a:pt x="391838" y="42135"/>
                    <a:pt x="350666" y="52072"/>
                    <a:pt x="313754" y="59171"/>
                  </a:cubicBezTo>
                  <a:cubicBezTo>
                    <a:pt x="275422" y="67689"/>
                    <a:pt x="244189" y="74788"/>
                    <a:pt x="184561" y="29357"/>
                  </a:cubicBezTo>
                  <a:cubicBezTo>
                    <a:pt x="153328" y="6642"/>
                    <a:pt x="124934" y="-3296"/>
                    <a:pt x="96540" y="963"/>
                  </a:cubicBezTo>
                  <a:cubicBezTo>
                    <a:pt x="56788" y="8062"/>
                    <a:pt x="29814" y="43554"/>
                    <a:pt x="14197" y="71948"/>
                  </a:cubicBezTo>
                  <a:cubicBezTo>
                    <a:pt x="8518" y="84726"/>
                    <a:pt x="4259" y="94663"/>
                    <a:pt x="2839" y="100342"/>
                  </a:cubicBezTo>
                  <a:close/>
                  <a:moveTo>
                    <a:pt x="51109" y="131576"/>
                  </a:moveTo>
                  <a:lnTo>
                    <a:pt x="15617" y="106021"/>
                  </a:lnTo>
                  <a:cubicBezTo>
                    <a:pt x="15617" y="104601"/>
                    <a:pt x="17036" y="103182"/>
                    <a:pt x="17036" y="101762"/>
                  </a:cubicBezTo>
                  <a:cubicBezTo>
                    <a:pt x="19876" y="96083"/>
                    <a:pt x="22715" y="87565"/>
                    <a:pt x="26974" y="79047"/>
                  </a:cubicBezTo>
                  <a:cubicBezTo>
                    <a:pt x="41171" y="53492"/>
                    <a:pt x="65306" y="20839"/>
                    <a:pt x="99379" y="15160"/>
                  </a:cubicBezTo>
                  <a:cubicBezTo>
                    <a:pt x="122094" y="10901"/>
                    <a:pt x="147649" y="19419"/>
                    <a:pt x="174623" y="40715"/>
                  </a:cubicBezTo>
                  <a:cubicBezTo>
                    <a:pt x="241349" y="91824"/>
                    <a:pt x="278262" y="83306"/>
                    <a:pt x="318013" y="73368"/>
                  </a:cubicBezTo>
                  <a:cubicBezTo>
                    <a:pt x="352086" y="64850"/>
                    <a:pt x="390418" y="56332"/>
                    <a:pt x="458564" y="83306"/>
                  </a:cubicBezTo>
                  <a:cubicBezTo>
                    <a:pt x="565041" y="125897"/>
                    <a:pt x="614731" y="236634"/>
                    <a:pt x="572140" y="341692"/>
                  </a:cubicBezTo>
                  <a:lnTo>
                    <a:pt x="570720" y="345951"/>
                  </a:lnTo>
                  <a:cubicBezTo>
                    <a:pt x="570720" y="347371"/>
                    <a:pt x="570720" y="347371"/>
                    <a:pt x="569301" y="348790"/>
                  </a:cubicBezTo>
                  <a:cubicBezTo>
                    <a:pt x="563622" y="361568"/>
                    <a:pt x="557943" y="374345"/>
                    <a:pt x="549425" y="384283"/>
                  </a:cubicBezTo>
                  <a:cubicBezTo>
                    <a:pt x="498315" y="460947"/>
                    <a:pt x="401776" y="487921"/>
                    <a:pt x="309495" y="451009"/>
                  </a:cubicBezTo>
                  <a:cubicBezTo>
                    <a:pt x="237090" y="422615"/>
                    <a:pt x="208696" y="385702"/>
                    <a:pt x="184561" y="353049"/>
                  </a:cubicBezTo>
                  <a:cubicBezTo>
                    <a:pt x="159007" y="318976"/>
                    <a:pt x="137711" y="290582"/>
                    <a:pt x="76664" y="282064"/>
                  </a:cubicBezTo>
                  <a:cubicBezTo>
                    <a:pt x="58208" y="279225"/>
                    <a:pt x="34073" y="273546"/>
                    <a:pt x="29814" y="260769"/>
                  </a:cubicBezTo>
                  <a:cubicBezTo>
                    <a:pt x="22715" y="238053"/>
                    <a:pt x="69565" y="198302"/>
                    <a:pt x="99379" y="178426"/>
                  </a:cubicBezTo>
                  <a:lnTo>
                    <a:pt x="107897" y="172747"/>
                  </a:lnTo>
                  <a:lnTo>
                    <a:pt x="51109" y="131576"/>
                  </a:lnTo>
                  <a:close/>
                </a:path>
              </a:pathLst>
            </a:custGeom>
            <a:solidFill>
              <a:srgbClr val="E0A76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5" name="任意多边形: 形状 10144">
              <a:extLst>
                <a:ext uri="{FF2B5EF4-FFF2-40B4-BE49-F238E27FC236}">
                  <a16:creationId xmlns:a16="http://schemas.microsoft.com/office/drawing/2014/main" id="{811AAEEC-7226-4746-BAC5-EC2ADB14A493}"/>
                </a:ext>
              </a:extLst>
            </p:cNvPr>
            <p:cNvSpPr/>
            <p:nvPr userDrawn="1"/>
          </p:nvSpPr>
          <p:spPr>
            <a:xfrm>
              <a:off x="5877736" y="4652027"/>
              <a:ext cx="85182" cy="170364"/>
            </a:xfrm>
            <a:custGeom>
              <a:avLst/>
              <a:gdLst>
                <a:gd name="connsiteX0" fmla="*/ 14197 w 85182"/>
                <a:gd name="connsiteY0" fmla="*/ 134872 h 170364"/>
                <a:gd name="connsiteX1" fmla="*/ 69565 w 85182"/>
                <a:gd name="connsiteY1" fmla="*/ 0 h 170364"/>
                <a:gd name="connsiteX2" fmla="*/ 93700 w 85182"/>
                <a:gd name="connsiteY2" fmla="*/ 9938 h 170364"/>
                <a:gd name="connsiteX3" fmla="*/ 86602 w 85182"/>
                <a:gd name="connsiteY3" fmla="*/ 29814 h 170364"/>
                <a:gd name="connsiteX4" fmla="*/ 92281 w 85182"/>
                <a:gd name="connsiteY4" fmla="*/ 32653 h 170364"/>
                <a:gd name="connsiteX5" fmla="*/ 51109 w 85182"/>
                <a:gd name="connsiteY5" fmla="*/ 133452 h 170364"/>
                <a:gd name="connsiteX6" fmla="*/ 51109 w 85182"/>
                <a:gd name="connsiteY6" fmla="*/ 133452 h 170364"/>
                <a:gd name="connsiteX7" fmla="*/ 39752 w 85182"/>
                <a:gd name="connsiteY7" fmla="*/ 163266 h 170364"/>
                <a:gd name="connsiteX8" fmla="*/ 34073 w 85182"/>
                <a:gd name="connsiteY8" fmla="*/ 160426 h 170364"/>
                <a:gd name="connsiteX9" fmla="*/ 25555 w 85182"/>
                <a:gd name="connsiteY9" fmla="*/ 180302 h 170364"/>
                <a:gd name="connsiteX10" fmla="*/ 0 w 85182"/>
                <a:gd name="connsiteY10" fmla="*/ 170364 h 17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182" h="170364">
                  <a:moveTo>
                    <a:pt x="14197" y="134872"/>
                  </a:moveTo>
                  <a:lnTo>
                    <a:pt x="69565" y="0"/>
                  </a:lnTo>
                  <a:lnTo>
                    <a:pt x="93700" y="9938"/>
                  </a:lnTo>
                  <a:lnTo>
                    <a:pt x="86602" y="29814"/>
                  </a:lnTo>
                  <a:lnTo>
                    <a:pt x="92281" y="32653"/>
                  </a:lnTo>
                  <a:lnTo>
                    <a:pt x="51109" y="133452"/>
                  </a:lnTo>
                  <a:lnTo>
                    <a:pt x="51109" y="133452"/>
                  </a:lnTo>
                  <a:lnTo>
                    <a:pt x="39752" y="163266"/>
                  </a:lnTo>
                  <a:lnTo>
                    <a:pt x="34073" y="160426"/>
                  </a:lnTo>
                  <a:lnTo>
                    <a:pt x="25555" y="180302"/>
                  </a:lnTo>
                  <a:lnTo>
                    <a:pt x="0" y="170364"/>
                  </a:lnTo>
                  <a:close/>
                </a:path>
              </a:pathLst>
            </a:custGeom>
            <a:solidFill>
              <a:srgbClr val="56361B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6" name="任意多边形: 形状 10145">
              <a:extLst>
                <a:ext uri="{FF2B5EF4-FFF2-40B4-BE49-F238E27FC236}">
                  <a16:creationId xmlns:a16="http://schemas.microsoft.com/office/drawing/2014/main" id="{598B554B-EBF4-4314-8186-054F8DD657E6}"/>
                </a:ext>
              </a:extLst>
            </p:cNvPr>
            <p:cNvSpPr/>
            <p:nvPr userDrawn="1"/>
          </p:nvSpPr>
          <p:spPr>
            <a:xfrm>
              <a:off x="4974805" y="4314138"/>
              <a:ext cx="14197" cy="14197"/>
            </a:xfrm>
            <a:custGeom>
              <a:avLst/>
              <a:gdLst>
                <a:gd name="connsiteX0" fmla="*/ 4259 w 14197"/>
                <a:gd name="connsiteY0" fmla="*/ 25555 h 14197"/>
                <a:gd name="connsiteX1" fmla="*/ 7099 w 14197"/>
                <a:gd name="connsiteY1" fmla="*/ 17036 h 14197"/>
                <a:gd name="connsiteX2" fmla="*/ 7099 w 14197"/>
                <a:gd name="connsiteY2" fmla="*/ 17036 h 14197"/>
                <a:gd name="connsiteX3" fmla="*/ 0 w 14197"/>
                <a:gd name="connsiteY3" fmla="*/ 9938 h 14197"/>
                <a:gd name="connsiteX4" fmla="*/ 4259 w 14197"/>
                <a:gd name="connsiteY4" fmla="*/ 0 h 14197"/>
                <a:gd name="connsiteX5" fmla="*/ 15617 w 14197"/>
                <a:gd name="connsiteY5" fmla="*/ 0 h 14197"/>
                <a:gd name="connsiteX6" fmla="*/ 24135 w 14197"/>
                <a:gd name="connsiteY6" fmla="*/ 7099 h 14197"/>
                <a:gd name="connsiteX7" fmla="*/ 19876 w 14197"/>
                <a:gd name="connsiteY7" fmla="*/ 18456 h 14197"/>
                <a:gd name="connsiteX8" fmla="*/ 9938 w 14197"/>
                <a:gd name="connsiteY8" fmla="*/ 17036 h 14197"/>
                <a:gd name="connsiteX9" fmla="*/ 5679 w 14197"/>
                <a:gd name="connsiteY9" fmla="*/ 26974 h 14197"/>
                <a:gd name="connsiteX10" fmla="*/ 5679 w 14197"/>
                <a:gd name="connsiteY10" fmla="*/ 26974 h 14197"/>
                <a:gd name="connsiteX11" fmla="*/ 5679 w 14197"/>
                <a:gd name="connsiteY11" fmla="*/ 26974 h 14197"/>
                <a:gd name="connsiteX12" fmla="*/ 4259 w 14197"/>
                <a:gd name="connsiteY12" fmla="*/ 25555 h 14197"/>
                <a:gd name="connsiteX13" fmla="*/ 4259 w 14197"/>
                <a:gd name="connsiteY13" fmla="*/ 25555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197" h="14197">
                  <a:moveTo>
                    <a:pt x="4259" y="25555"/>
                  </a:moveTo>
                  <a:lnTo>
                    <a:pt x="7099" y="17036"/>
                  </a:lnTo>
                  <a:lnTo>
                    <a:pt x="7099" y="17036"/>
                  </a:lnTo>
                  <a:lnTo>
                    <a:pt x="0" y="9938"/>
                  </a:lnTo>
                  <a:lnTo>
                    <a:pt x="4259" y="0"/>
                  </a:lnTo>
                  <a:lnTo>
                    <a:pt x="15617" y="0"/>
                  </a:lnTo>
                  <a:lnTo>
                    <a:pt x="24135" y="7099"/>
                  </a:lnTo>
                  <a:lnTo>
                    <a:pt x="19876" y="18456"/>
                  </a:lnTo>
                  <a:lnTo>
                    <a:pt x="9938" y="17036"/>
                  </a:lnTo>
                  <a:lnTo>
                    <a:pt x="5679" y="26974"/>
                  </a:lnTo>
                  <a:lnTo>
                    <a:pt x="5679" y="26974"/>
                  </a:lnTo>
                  <a:lnTo>
                    <a:pt x="5679" y="26974"/>
                  </a:lnTo>
                  <a:lnTo>
                    <a:pt x="4259" y="25555"/>
                  </a:lnTo>
                  <a:lnTo>
                    <a:pt x="4259" y="25555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7" name="任意多边形: 形状 10146">
              <a:extLst>
                <a:ext uri="{FF2B5EF4-FFF2-40B4-BE49-F238E27FC236}">
                  <a16:creationId xmlns:a16="http://schemas.microsoft.com/office/drawing/2014/main" id="{5263A921-3681-4DE2-A2EF-6A97E76F8685}"/>
                </a:ext>
              </a:extLst>
            </p:cNvPr>
            <p:cNvSpPr/>
            <p:nvPr userDrawn="1"/>
          </p:nvSpPr>
          <p:spPr>
            <a:xfrm>
              <a:off x="5003200" y="4325495"/>
              <a:ext cx="14197" cy="14197"/>
            </a:xfrm>
            <a:custGeom>
              <a:avLst/>
              <a:gdLst>
                <a:gd name="connsiteX0" fmla="*/ 0 w 14197"/>
                <a:gd name="connsiteY0" fmla="*/ 11358 h 14197"/>
                <a:gd name="connsiteX1" fmla="*/ 4259 w 14197"/>
                <a:gd name="connsiteY1" fmla="*/ 0 h 14197"/>
                <a:gd name="connsiteX2" fmla="*/ 15617 w 14197"/>
                <a:gd name="connsiteY2" fmla="*/ 1420 h 14197"/>
                <a:gd name="connsiteX3" fmla="*/ 15617 w 14197"/>
                <a:gd name="connsiteY3" fmla="*/ 1420 h 14197"/>
                <a:gd name="connsiteX4" fmla="*/ 24135 w 14197"/>
                <a:gd name="connsiteY4" fmla="*/ 8518 h 14197"/>
                <a:gd name="connsiteX5" fmla="*/ 19876 w 14197"/>
                <a:gd name="connsiteY5" fmla="*/ 19876 h 14197"/>
                <a:gd name="connsiteX6" fmla="*/ 9938 w 14197"/>
                <a:gd name="connsiteY6" fmla="*/ 18456 h 14197"/>
                <a:gd name="connsiteX7" fmla="*/ 7099 w 14197"/>
                <a:gd name="connsiteY7" fmla="*/ 26974 h 14197"/>
                <a:gd name="connsiteX8" fmla="*/ 5679 w 14197"/>
                <a:gd name="connsiteY8" fmla="*/ 26974 h 14197"/>
                <a:gd name="connsiteX9" fmla="*/ 4259 w 14197"/>
                <a:gd name="connsiteY9" fmla="*/ 26974 h 14197"/>
                <a:gd name="connsiteX10" fmla="*/ 7099 w 14197"/>
                <a:gd name="connsiteY10" fmla="*/ 1845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97" h="14197">
                  <a:moveTo>
                    <a:pt x="0" y="11358"/>
                  </a:moveTo>
                  <a:lnTo>
                    <a:pt x="4259" y="0"/>
                  </a:lnTo>
                  <a:lnTo>
                    <a:pt x="15617" y="1420"/>
                  </a:lnTo>
                  <a:lnTo>
                    <a:pt x="15617" y="1420"/>
                  </a:lnTo>
                  <a:lnTo>
                    <a:pt x="24135" y="8518"/>
                  </a:lnTo>
                  <a:lnTo>
                    <a:pt x="19876" y="19876"/>
                  </a:lnTo>
                  <a:lnTo>
                    <a:pt x="9938" y="18456"/>
                  </a:lnTo>
                  <a:lnTo>
                    <a:pt x="7099" y="26974"/>
                  </a:lnTo>
                  <a:lnTo>
                    <a:pt x="5679" y="26974"/>
                  </a:lnTo>
                  <a:lnTo>
                    <a:pt x="4259" y="26974"/>
                  </a:lnTo>
                  <a:lnTo>
                    <a:pt x="7099" y="18456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8" name="任意多边形: 形状 10147">
              <a:extLst>
                <a:ext uri="{FF2B5EF4-FFF2-40B4-BE49-F238E27FC236}">
                  <a16:creationId xmlns:a16="http://schemas.microsoft.com/office/drawing/2014/main" id="{4D5DD265-96C9-436E-B55F-04A2D1ECD25C}"/>
                </a:ext>
              </a:extLst>
            </p:cNvPr>
            <p:cNvSpPr/>
            <p:nvPr userDrawn="1"/>
          </p:nvSpPr>
          <p:spPr>
            <a:xfrm>
              <a:off x="5030174" y="4338273"/>
              <a:ext cx="14197" cy="14197"/>
            </a:xfrm>
            <a:custGeom>
              <a:avLst/>
              <a:gdLst>
                <a:gd name="connsiteX0" fmla="*/ 0 w 14197"/>
                <a:gd name="connsiteY0" fmla="*/ 11358 h 14197"/>
                <a:gd name="connsiteX1" fmla="*/ 5679 w 14197"/>
                <a:gd name="connsiteY1" fmla="*/ 0 h 14197"/>
                <a:gd name="connsiteX2" fmla="*/ 17036 w 14197"/>
                <a:gd name="connsiteY2" fmla="*/ 1420 h 14197"/>
                <a:gd name="connsiteX3" fmla="*/ 17036 w 14197"/>
                <a:gd name="connsiteY3" fmla="*/ 1420 h 14197"/>
                <a:gd name="connsiteX4" fmla="*/ 25555 w 14197"/>
                <a:gd name="connsiteY4" fmla="*/ 8518 h 14197"/>
                <a:gd name="connsiteX5" fmla="*/ 21296 w 14197"/>
                <a:gd name="connsiteY5" fmla="*/ 19876 h 14197"/>
                <a:gd name="connsiteX6" fmla="*/ 11358 w 14197"/>
                <a:gd name="connsiteY6" fmla="*/ 18456 h 14197"/>
                <a:gd name="connsiteX7" fmla="*/ 8518 w 14197"/>
                <a:gd name="connsiteY7" fmla="*/ 26974 h 14197"/>
                <a:gd name="connsiteX8" fmla="*/ 5679 w 14197"/>
                <a:gd name="connsiteY8" fmla="*/ 25555 h 14197"/>
                <a:gd name="connsiteX9" fmla="*/ 8518 w 14197"/>
                <a:gd name="connsiteY9" fmla="*/ 1703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197" h="14197">
                  <a:moveTo>
                    <a:pt x="0" y="11358"/>
                  </a:moveTo>
                  <a:lnTo>
                    <a:pt x="5679" y="0"/>
                  </a:lnTo>
                  <a:lnTo>
                    <a:pt x="17036" y="1420"/>
                  </a:lnTo>
                  <a:lnTo>
                    <a:pt x="17036" y="1420"/>
                  </a:lnTo>
                  <a:lnTo>
                    <a:pt x="25555" y="8518"/>
                  </a:lnTo>
                  <a:lnTo>
                    <a:pt x="21296" y="19876"/>
                  </a:lnTo>
                  <a:lnTo>
                    <a:pt x="11358" y="18456"/>
                  </a:lnTo>
                  <a:lnTo>
                    <a:pt x="8518" y="26974"/>
                  </a:lnTo>
                  <a:lnTo>
                    <a:pt x="5679" y="25555"/>
                  </a:lnTo>
                  <a:lnTo>
                    <a:pt x="8518" y="17036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9" name="任意多边形: 形状 10148">
              <a:extLst>
                <a:ext uri="{FF2B5EF4-FFF2-40B4-BE49-F238E27FC236}">
                  <a16:creationId xmlns:a16="http://schemas.microsoft.com/office/drawing/2014/main" id="{D0982DB4-84F2-4D40-8CDA-4E1CB94AC1AE}"/>
                </a:ext>
              </a:extLst>
            </p:cNvPr>
            <p:cNvSpPr/>
            <p:nvPr userDrawn="1"/>
          </p:nvSpPr>
          <p:spPr>
            <a:xfrm>
              <a:off x="5660199" y="4606916"/>
              <a:ext cx="99379" cy="99379"/>
            </a:xfrm>
            <a:custGeom>
              <a:avLst/>
              <a:gdLst>
                <a:gd name="connsiteX0" fmla="*/ 3162 w 99379"/>
                <a:gd name="connsiteY0" fmla="*/ 33753 h 99379"/>
                <a:gd name="connsiteX1" fmla="*/ 75567 w 99379"/>
                <a:gd name="connsiteY1" fmla="*/ 3939 h 99379"/>
                <a:gd name="connsiteX2" fmla="*/ 108220 w 99379"/>
                <a:gd name="connsiteY2" fmla="*/ 74924 h 99379"/>
                <a:gd name="connsiteX3" fmla="*/ 35815 w 99379"/>
                <a:gd name="connsiteY3" fmla="*/ 104738 h 99379"/>
                <a:gd name="connsiteX4" fmla="*/ 3162 w 99379"/>
                <a:gd name="connsiteY4" fmla="*/ 33753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79" h="99379">
                  <a:moveTo>
                    <a:pt x="3162" y="33753"/>
                  </a:moveTo>
                  <a:cubicBezTo>
                    <a:pt x="15939" y="6779"/>
                    <a:pt x="47173" y="-7418"/>
                    <a:pt x="75567" y="3939"/>
                  </a:cubicBezTo>
                  <a:cubicBezTo>
                    <a:pt x="103961" y="15297"/>
                    <a:pt x="118158" y="46530"/>
                    <a:pt x="108220" y="74924"/>
                  </a:cubicBezTo>
                  <a:cubicBezTo>
                    <a:pt x="95442" y="101899"/>
                    <a:pt x="64209" y="116096"/>
                    <a:pt x="35815" y="104738"/>
                  </a:cubicBezTo>
                  <a:cubicBezTo>
                    <a:pt x="7421" y="93381"/>
                    <a:pt x="-6776" y="62147"/>
                    <a:pt x="3162" y="33753"/>
                  </a:cubicBezTo>
                  <a:close/>
                </a:path>
              </a:pathLst>
            </a:custGeom>
            <a:solidFill>
              <a:srgbClr val="39241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0" name="任意多边形: 形状 10149">
              <a:extLst>
                <a:ext uri="{FF2B5EF4-FFF2-40B4-BE49-F238E27FC236}">
                  <a16:creationId xmlns:a16="http://schemas.microsoft.com/office/drawing/2014/main" id="{51A06E88-C481-4ACA-8888-B616C8C438BB}"/>
                </a:ext>
              </a:extLst>
            </p:cNvPr>
            <p:cNvSpPr/>
            <p:nvPr userDrawn="1"/>
          </p:nvSpPr>
          <p:spPr>
            <a:xfrm>
              <a:off x="4934996" y="4330812"/>
              <a:ext cx="752442" cy="340728"/>
            </a:xfrm>
            <a:custGeom>
              <a:avLst/>
              <a:gdLst>
                <a:gd name="connsiteX0" fmla="*/ 4317 w 752442"/>
                <a:gd name="connsiteY0" fmla="*/ 54311 h 340728"/>
                <a:gd name="connsiteX1" fmla="*/ 103696 w 752442"/>
                <a:gd name="connsiteY1" fmla="*/ 91223 h 340728"/>
                <a:gd name="connsiteX2" fmla="*/ 106535 w 752442"/>
                <a:gd name="connsiteY2" fmla="*/ 91223 h 340728"/>
                <a:gd name="connsiteX3" fmla="*/ 109375 w 752442"/>
                <a:gd name="connsiteY3" fmla="*/ 91223 h 340728"/>
                <a:gd name="connsiteX4" fmla="*/ 113634 w 752442"/>
                <a:gd name="connsiteY4" fmla="*/ 91223 h 340728"/>
                <a:gd name="connsiteX5" fmla="*/ 115053 w 752442"/>
                <a:gd name="connsiteY5" fmla="*/ 91223 h 340728"/>
                <a:gd name="connsiteX6" fmla="*/ 116473 w 752442"/>
                <a:gd name="connsiteY6" fmla="*/ 91223 h 340728"/>
                <a:gd name="connsiteX7" fmla="*/ 117893 w 752442"/>
                <a:gd name="connsiteY7" fmla="*/ 91223 h 340728"/>
                <a:gd name="connsiteX8" fmla="*/ 119312 w 752442"/>
                <a:gd name="connsiteY8" fmla="*/ 91223 h 340728"/>
                <a:gd name="connsiteX9" fmla="*/ 146287 w 752442"/>
                <a:gd name="connsiteY9" fmla="*/ 102580 h 340728"/>
                <a:gd name="connsiteX10" fmla="*/ 149126 w 752442"/>
                <a:gd name="connsiteY10" fmla="*/ 104000 h 340728"/>
                <a:gd name="connsiteX11" fmla="*/ 169002 w 752442"/>
                <a:gd name="connsiteY11" fmla="*/ 112518 h 340728"/>
                <a:gd name="connsiteX12" fmla="*/ 171841 w 752442"/>
                <a:gd name="connsiteY12" fmla="*/ 113938 h 340728"/>
                <a:gd name="connsiteX13" fmla="*/ 183199 w 752442"/>
                <a:gd name="connsiteY13" fmla="*/ 118197 h 340728"/>
                <a:gd name="connsiteX14" fmla="*/ 186038 w 752442"/>
                <a:gd name="connsiteY14" fmla="*/ 119617 h 340728"/>
                <a:gd name="connsiteX15" fmla="*/ 215852 w 752442"/>
                <a:gd name="connsiteY15" fmla="*/ 132394 h 340728"/>
                <a:gd name="connsiteX16" fmla="*/ 218692 w 752442"/>
                <a:gd name="connsiteY16" fmla="*/ 133814 h 340728"/>
                <a:gd name="connsiteX17" fmla="*/ 218692 w 752442"/>
                <a:gd name="connsiteY17" fmla="*/ 133814 h 340728"/>
                <a:gd name="connsiteX18" fmla="*/ 221531 w 752442"/>
                <a:gd name="connsiteY18" fmla="*/ 135233 h 340728"/>
                <a:gd name="connsiteX19" fmla="*/ 254184 w 752442"/>
                <a:gd name="connsiteY19" fmla="*/ 148011 h 340728"/>
                <a:gd name="connsiteX20" fmla="*/ 257024 w 752442"/>
                <a:gd name="connsiteY20" fmla="*/ 149431 h 340728"/>
                <a:gd name="connsiteX21" fmla="*/ 289677 w 752442"/>
                <a:gd name="connsiteY21" fmla="*/ 163628 h 340728"/>
                <a:gd name="connsiteX22" fmla="*/ 292516 w 752442"/>
                <a:gd name="connsiteY22" fmla="*/ 165047 h 340728"/>
                <a:gd name="connsiteX23" fmla="*/ 325169 w 752442"/>
                <a:gd name="connsiteY23" fmla="*/ 179244 h 340728"/>
                <a:gd name="connsiteX24" fmla="*/ 328009 w 752442"/>
                <a:gd name="connsiteY24" fmla="*/ 180664 h 340728"/>
                <a:gd name="connsiteX25" fmla="*/ 359242 w 752442"/>
                <a:gd name="connsiteY25" fmla="*/ 192022 h 340728"/>
                <a:gd name="connsiteX26" fmla="*/ 362082 w 752442"/>
                <a:gd name="connsiteY26" fmla="*/ 193441 h 340728"/>
                <a:gd name="connsiteX27" fmla="*/ 396154 w 752442"/>
                <a:gd name="connsiteY27" fmla="*/ 207638 h 340728"/>
                <a:gd name="connsiteX28" fmla="*/ 398994 w 752442"/>
                <a:gd name="connsiteY28" fmla="*/ 209058 h 340728"/>
                <a:gd name="connsiteX29" fmla="*/ 433067 w 752442"/>
                <a:gd name="connsiteY29" fmla="*/ 223255 h 340728"/>
                <a:gd name="connsiteX30" fmla="*/ 435906 w 752442"/>
                <a:gd name="connsiteY30" fmla="*/ 224675 h 340728"/>
                <a:gd name="connsiteX31" fmla="*/ 474238 w 752442"/>
                <a:gd name="connsiteY31" fmla="*/ 240291 h 340728"/>
                <a:gd name="connsiteX32" fmla="*/ 477077 w 752442"/>
                <a:gd name="connsiteY32" fmla="*/ 241711 h 340728"/>
                <a:gd name="connsiteX33" fmla="*/ 515409 w 752442"/>
                <a:gd name="connsiteY33" fmla="*/ 257328 h 340728"/>
                <a:gd name="connsiteX34" fmla="*/ 518249 w 752442"/>
                <a:gd name="connsiteY34" fmla="*/ 258748 h 340728"/>
                <a:gd name="connsiteX35" fmla="*/ 546643 w 752442"/>
                <a:gd name="connsiteY35" fmla="*/ 270105 h 340728"/>
                <a:gd name="connsiteX36" fmla="*/ 549482 w 752442"/>
                <a:gd name="connsiteY36" fmla="*/ 271525 h 340728"/>
                <a:gd name="connsiteX37" fmla="*/ 577876 w 752442"/>
                <a:gd name="connsiteY37" fmla="*/ 282883 h 340728"/>
                <a:gd name="connsiteX38" fmla="*/ 580716 w 752442"/>
                <a:gd name="connsiteY38" fmla="*/ 284302 h 340728"/>
                <a:gd name="connsiteX39" fmla="*/ 600592 w 752442"/>
                <a:gd name="connsiteY39" fmla="*/ 291401 h 340728"/>
                <a:gd name="connsiteX40" fmla="*/ 603431 w 752442"/>
                <a:gd name="connsiteY40" fmla="*/ 292820 h 340728"/>
                <a:gd name="connsiteX41" fmla="*/ 623307 w 752442"/>
                <a:gd name="connsiteY41" fmla="*/ 301339 h 340728"/>
                <a:gd name="connsiteX42" fmla="*/ 626146 w 752442"/>
                <a:gd name="connsiteY42" fmla="*/ 302758 h 340728"/>
                <a:gd name="connsiteX43" fmla="*/ 646022 w 752442"/>
                <a:gd name="connsiteY43" fmla="*/ 311277 h 340728"/>
                <a:gd name="connsiteX44" fmla="*/ 648861 w 752442"/>
                <a:gd name="connsiteY44" fmla="*/ 312696 h 340728"/>
                <a:gd name="connsiteX45" fmla="*/ 667317 w 752442"/>
                <a:gd name="connsiteY45" fmla="*/ 319795 h 340728"/>
                <a:gd name="connsiteX46" fmla="*/ 670157 w 752442"/>
                <a:gd name="connsiteY46" fmla="*/ 321214 h 340728"/>
                <a:gd name="connsiteX47" fmla="*/ 688613 w 752442"/>
                <a:gd name="connsiteY47" fmla="*/ 328313 h 340728"/>
                <a:gd name="connsiteX48" fmla="*/ 691452 w 752442"/>
                <a:gd name="connsiteY48" fmla="*/ 329733 h 340728"/>
                <a:gd name="connsiteX49" fmla="*/ 709909 w 752442"/>
                <a:gd name="connsiteY49" fmla="*/ 336831 h 340728"/>
                <a:gd name="connsiteX50" fmla="*/ 712748 w 752442"/>
                <a:gd name="connsiteY50" fmla="*/ 338251 h 340728"/>
                <a:gd name="connsiteX51" fmla="*/ 732624 w 752442"/>
                <a:gd name="connsiteY51" fmla="*/ 346769 h 340728"/>
                <a:gd name="connsiteX52" fmla="*/ 732624 w 752442"/>
                <a:gd name="connsiteY52" fmla="*/ 346769 h 340728"/>
                <a:gd name="connsiteX53" fmla="*/ 758178 w 752442"/>
                <a:gd name="connsiteY53" fmla="*/ 284302 h 340728"/>
                <a:gd name="connsiteX54" fmla="*/ 758178 w 752442"/>
                <a:gd name="connsiteY54" fmla="*/ 284302 h 340728"/>
                <a:gd name="connsiteX55" fmla="*/ 738303 w 752442"/>
                <a:gd name="connsiteY55" fmla="*/ 277204 h 340728"/>
                <a:gd name="connsiteX56" fmla="*/ 735463 w 752442"/>
                <a:gd name="connsiteY56" fmla="*/ 275784 h 340728"/>
                <a:gd name="connsiteX57" fmla="*/ 717007 w 752442"/>
                <a:gd name="connsiteY57" fmla="*/ 268686 h 340728"/>
                <a:gd name="connsiteX58" fmla="*/ 714168 w 752442"/>
                <a:gd name="connsiteY58" fmla="*/ 267266 h 340728"/>
                <a:gd name="connsiteX59" fmla="*/ 695712 w 752442"/>
                <a:gd name="connsiteY59" fmla="*/ 260167 h 340728"/>
                <a:gd name="connsiteX60" fmla="*/ 692872 w 752442"/>
                <a:gd name="connsiteY60" fmla="*/ 258748 h 340728"/>
                <a:gd name="connsiteX61" fmla="*/ 674416 w 752442"/>
                <a:gd name="connsiteY61" fmla="*/ 251649 h 340728"/>
                <a:gd name="connsiteX62" fmla="*/ 671577 w 752442"/>
                <a:gd name="connsiteY62" fmla="*/ 250229 h 340728"/>
                <a:gd name="connsiteX63" fmla="*/ 651701 w 752442"/>
                <a:gd name="connsiteY63" fmla="*/ 243131 h 340728"/>
                <a:gd name="connsiteX64" fmla="*/ 648861 w 752442"/>
                <a:gd name="connsiteY64" fmla="*/ 241711 h 340728"/>
                <a:gd name="connsiteX65" fmla="*/ 626146 w 752442"/>
                <a:gd name="connsiteY65" fmla="*/ 234613 h 340728"/>
                <a:gd name="connsiteX66" fmla="*/ 623307 w 752442"/>
                <a:gd name="connsiteY66" fmla="*/ 233193 h 340728"/>
                <a:gd name="connsiteX67" fmla="*/ 602011 w 752442"/>
                <a:gd name="connsiteY67" fmla="*/ 226094 h 340728"/>
                <a:gd name="connsiteX68" fmla="*/ 600592 w 752442"/>
                <a:gd name="connsiteY68" fmla="*/ 224675 h 340728"/>
                <a:gd name="connsiteX69" fmla="*/ 572197 w 752442"/>
                <a:gd name="connsiteY69" fmla="*/ 214737 h 340728"/>
                <a:gd name="connsiteX70" fmla="*/ 569358 w 752442"/>
                <a:gd name="connsiteY70" fmla="*/ 213317 h 340728"/>
                <a:gd name="connsiteX71" fmla="*/ 540964 w 752442"/>
                <a:gd name="connsiteY71" fmla="*/ 203379 h 340728"/>
                <a:gd name="connsiteX72" fmla="*/ 538125 w 752442"/>
                <a:gd name="connsiteY72" fmla="*/ 201959 h 340728"/>
                <a:gd name="connsiteX73" fmla="*/ 498373 w 752442"/>
                <a:gd name="connsiteY73" fmla="*/ 187762 h 340728"/>
                <a:gd name="connsiteX74" fmla="*/ 495534 w 752442"/>
                <a:gd name="connsiteY74" fmla="*/ 186343 h 340728"/>
                <a:gd name="connsiteX75" fmla="*/ 455782 w 752442"/>
                <a:gd name="connsiteY75" fmla="*/ 172146 h 340728"/>
                <a:gd name="connsiteX76" fmla="*/ 452942 w 752442"/>
                <a:gd name="connsiteY76" fmla="*/ 170726 h 340728"/>
                <a:gd name="connsiteX77" fmla="*/ 418870 w 752442"/>
                <a:gd name="connsiteY77" fmla="*/ 157949 h 340728"/>
                <a:gd name="connsiteX78" fmla="*/ 416030 w 752442"/>
                <a:gd name="connsiteY78" fmla="*/ 156529 h 340728"/>
                <a:gd name="connsiteX79" fmla="*/ 381957 w 752442"/>
                <a:gd name="connsiteY79" fmla="*/ 143752 h 340728"/>
                <a:gd name="connsiteX80" fmla="*/ 379118 w 752442"/>
                <a:gd name="connsiteY80" fmla="*/ 142332 h 340728"/>
                <a:gd name="connsiteX81" fmla="*/ 346465 w 752442"/>
                <a:gd name="connsiteY81" fmla="*/ 129555 h 340728"/>
                <a:gd name="connsiteX82" fmla="*/ 343625 w 752442"/>
                <a:gd name="connsiteY82" fmla="*/ 128135 h 340728"/>
                <a:gd name="connsiteX83" fmla="*/ 310972 w 752442"/>
                <a:gd name="connsiteY83" fmla="*/ 115358 h 340728"/>
                <a:gd name="connsiteX84" fmla="*/ 308133 w 752442"/>
                <a:gd name="connsiteY84" fmla="*/ 113938 h 340728"/>
                <a:gd name="connsiteX85" fmla="*/ 274060 w 752442"/>
                <a:gd name="connsiteY85" fmla="*/ 102580 h 340728"/>
                <a:gd name="connsiteX86" fmla="*/ 271221 w 752442"/>
                <a:gd name="connsiteY86" fmla="*/ 101161 h 340728"/>
                <a:gd name="connsiteX87" fmla="*/ 238567 w 752442"/>
                <a:gd name="connsiteY87" fmla="*/ 88383 h 340728"/>
                <a:gd name="connsiteX88" fmla="*/ 235728 w 752442"/>
                <a:gd name="connsiteY88" fmla="*/ 86964 h 340728"/>
                <a:gd name="connsiteX89" fmla="*/ 235728 w 752442"/>
                <a:gd name="connsiteY89" fmla="*/ 86964 h 340728"/>
                <a:gd name="connsiteX90" fmla="*/ 232889 w 752442"/>
                <a:gd name="connsiteY90" fmla="*/ 85544 h 340728"/>
                <a:gd name="connsiteX91" fmla="*/ 203075 w 752442"/>
                <a:gd name="connsiteY91" fmla="*/ 77026 h 340728"/>
                <a:gd name="connsiteX92" fmla="*/ 200236 w 752442"/>
                <a:gd name="connsiteY92" fmla="*/ 75606 h 340728"/>
                <a:gd name="connsiteX93" fmla="*/ 188878 w 752442"/>
                <a:gd name="connsiteY93" fmla="*/ 71347 h 340728"/>
                <a:gd name="connsiteX94" fmla="*/ 186038 w 752442"/>
                <a:gd name="connsiteY94" fmla="*/ 69927 h 340728"/>
                <a:gd name="connsiteX95" fmla="*/ 166163 w 752442"/>
                <a:gd name="connsiteY95" fmla="*/ 62829 h 340728"/>
                <a:gd name="connsiteX96" fmla="*/ 163323 w 752442"/>
                <a:gd name="connsiteY96" fmla="*/ 61409 h 340728"/>
                <a:gd name="connsiteX97" fmla="*/ 136349 w 752442"/>
                <a:gd name="connsiteY97" fmla="*/ 51471 h 340728"/>
                <a:gd name="connsiteX98" fmla="*/ 134929 w 752442"/>
                <a:gd name="connsiteY98" fmla="*/ 51471 h 340728"/>
                <a:gd name="connsiteX99" fmla="*/ 133510 w 752442"/>
                <a:gd name="connsiteY99" fmla="*/ 51471 h 340728"/>
                <a:gd name="connsiteX100" fmla="*/ 132090 w 752442"/>
                <a:gd name="connsiteY100" fmla="*/ 51471 h 340728"/>
                <a:gd name="connsiteX101" fmla="*/ 132090 w 752442"/>
                <a:gd name="connsiteY101" fmla="*/ 48632 h 340728"/>
                <a:gd name="connsiteX102" fmla="*/ 129250 w 752442"/>
                <a:gd name="connsiteY102" fmla="*/ 45792 h 340728"/>
                <a:gd name="connsiteX103" fmla="*/ 126411 w 752442"/>
                <a:gd name="connsiteY103" fmla="*/ 42953 h 340728"/>
                <a:gd name="connsiteX104" fmla="*/ 124991 w 752442"/>
                <a:gd name="connsiteY104" fmla="*/ 41533 h 340728"/>
                <a:gd name="connsiteX105" fmla="*/ 27032 w 752442"/>
                <a:gd name="connsiteY105" fmla="*/ 362 h 340728"/>
                <a:gd name="connsiteX106" fmla="*/ 14255 w 752442"/>
                <a:gd name="connsiteY106" fmla="*/ 7460 h 340728"/>
                <a:gd name="connsiteX107" fmla="*/ 1477 w 752442"/>
                <a:gd name="connsiteY107" fmla="*/ 40113 h 340728"/>
                <a:gd name="connsiteX108" fmla="*/ 4317 w 752442"/>
                <a:gd name="connsiteY108" fmla="*/ 54311 h 34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752442" h="340728">
                  <a:moveTo>
                    <a:pt x="4317" y="54311"/>
                  </a:moveTo>
                  <a:lnTo>
                    <a:pt x="103696" y="91223"/>
                  </a:lnTo>
                  <a:cubicBezTo>
                    <a:pt x="105115" y="91223"/>
                    <a:pt x="105115" y="91223"/>
                    <a:pt x="106535" y="91223"/>
                  </a:cubicBezTo>
                  <a:lnTo>
                    <a:pt x="109375" y="91223"/>
                  </a:lnTo>
                  <a:lnTo>
                    <a:pt x="113634" y="91223"/>
                  </a:lnTo>
                  <a:lnTo>
                    <a:pt x="115053" y="91223"/>
                  </a:lnTo>
                  <a:cubicBezTo>
                    <a:pt x="115053" y="91223"/>
                    <a:pt x="115053" y="91223"/>
                    <a:pt x="116473" y="91223"/>
                  </a:cubicBezTo>
                  <a:cubicBezTo>
                    <a:pt x="116473" y="91223"/>
                    <a:pt x="116473" y="91223"/>
                    <a:pt x="117893" y="91223"/>
                  </a:cubicBezTo>
                  <a:cubicBezTo>
                    <a:pt x="117893" y="91223"/>
                    <a:pt x="117893" y="91223"/>
                    <a:pt x="119312" y="91223"/>
                  </a:cubicBezTo>
                  <a:lnTo>
                    <a:pt x="146287" y="102580"/>
                  </a:lnTo>
                  <a:lnTo>
                    <a:pt x="149126" y="104000"/>
                  </a:lnTo>
                  <a:lnTo>
                    <a:pt x="169002" y="112518"/>
                  </a:lnTo>
                  <a:lnTo>
                    <a:pt x="171841" y="113938"/>
                  </a:lnTo>
                  <a:lnTo>
                    <a:pt x="183199" y="118197"/>
                  </a:lnTo>
                  <a:lnTo>
                    <a:pt x="186038" y="119617"/>
                  </a:lnTo>
                  <a:lnTo>
                    <a:pt x="215852" y="132394"/>
                  </a:lnTo>
                  <a:lnTo>
                    <a:pt x="218692" y="133814"/>
                  </a:lnTo>
                  <a:lnTo>
                    <a:pt x="218692" y="133814"/>
                  </a:lnTo>
                  <a:lnTo>
                    <a:pt x="221531" y="135233"/>
                  </a:lnTo>
                  <a:lnTo>
                    <a:pt x="254184" y="148011"/>
                  </a:lnTo>
                  <a:lnTo>
                    <a:pt x="257024" y="149431"/>
                  </a:lnTo>
                  <a:lnTo>
                    <a:pt x="289677" y="163628"/>
                  </a:lnTo>
                  <a:lnTo>
                    <a:pt x="292516" y="165047"/>
                  </a:lnTo>
                  <a:lnTo>
                    <a:pt x="325169" y="179244"/>
                  </a:lnTo>
                  <a:lnTo>
                    <a:pt x="328009" y="180664"/>
                  </a:lnTo>
                  <a:lnTo>
                    <a:pt x="359242" y="192022"/>
                  </a:lnTo>
                  <a:lnTo>
                    <a:pt x="362082" y="193441"/>
                  </a:lnTo>
                  <a:lnTo>
                    <a:pt x="396154" y="207638"/>
                  </a:lnTo>
                  <a:lnTo>
                    <a:pt x="398994" y="209058"/>
                  </a:lnTo>
                  <a:lnTo>
                    <a:pt x="433067" y="223255"/>
                  </a:lnTo>
                  <a:lnTo>
                    <a:pt x="435906" y="224675"/>
                  </a:lnTo>
                  <a:lnTo>
                    <a:pt x="474238" y="240291"/>
                  </a:lnTo>
                  <a:lnTo>
                    <a:pt x="477077" y="241711"/>
                  </a:lnTo>
                  <a:lnTo>
                    <a:pt x="515409" y="257328"/>
                  </a:lnTo>
                  <a:lnTo>
                    <a:pt x="518249" y="258748"/>
                  </a:lnTo>
                  <a:lnTo>
                    <a:pt x="546643" y="270105"/>
                  </a:lnTo>
                  <a:lnTo>
                    <a:pt x="549482" y="271525"/>
                  </a:lnTo>
                  <a:lnTo>
                    <a:pt x="577876" y="282883"/>
                  </a:lnTo>
                  <a:lnTo>
                    <a:pt x="580716" y="284302"/>
                  </a:lnTo>
                  <a:lnTo>
                    <a:pt x="600592" y="291401"/>
                  </a:lnTo>
                  <a:lnTo>
                    <a:pt x="603431" y="292820"/>
                  </a:lnTo>
                  <a:lnTo>
                    <a:pt x="623307" y="301339"/>
                  </a:lnTo>
                  <a:lnTo>
                    <a:pt x="626146" y="302758"/>
                  </a:lnTo>
                  <a:lnTo>
                    <a:pt x="646022" y="311277"/>
                  </a:lnTo>
                  <a:lnTo>
                    <a:pt x="648861" y="312696"/>
                  </a:lnTo>
                  <a:lnTo>
                    <a:pt x="667317" y="319795"/>
                  </a:lnTo>
                  <a:lnTo>
                    <a:pt x="670157" y="321214"/>
                  </a:lnTo>
                  <a:lnTo>
                    <a:pt x="688613" y="328313"/>
                  </a:lnTo>
                  <a:lnTo>
                    <a:pt x="691452" y="329733"/>
                  </a:lnTo>
                  <a:lnTo>
                    <a:pt x="709909" y="336831"/>
                  </a:lnTo>
                  <a:lnTo>
                    <a:pt x="712748" y="338251"/>
                  </a:lnTo>
                  <a:lnTo>
                    <a:pt x="732624" y="346769"/>
                  </a:lnTo>
                  <a:lnTo>
                    <a:pt x="732624" y="346769"/>
                  </a:lnTo>
                  <a:lnTo>
                    <a:pt x="758178" y="284302"/>
                  </a:lnTo>
                  <a:lnTo>
                    <a:pt x="758178" y="284302"/>
                  </a:lnTo>
                  <a:lnTo>
                    <a:pt x="738303" y="277204"/>
                  </a:lnTo>
                  <a:lnTo>
                    <a:pt x="735463" y="275784"/>
                  </a:lnTo>
                  <a:lnTo>
                    <a:pt x="717007" y="268686"/>
                  </a:lnTo>
                  <a:lnTo>
                    <a:pt x="714168" y="267266"/>
                  </a:lnTo>
                  <a:lnTo>
                    <a:pt x="695712" y="260167"/>
                  </a:lnTo>
                  <a:lnTo>
                    <a:pt x="692872" y="258748"/>
                  </a:lnTo>
                  <a:lnTo>
                    <a:pt x="674416" y="251649"/>
                  </a:lnTo>
                  <a:lnTo>
                    <a:pt x="671577" y="250229"/>
                  </a:lnTo>
                  <a:lnTo>
                    <a:pt x="651701" y="243131"/>
                  </a:lnTo>
                  <a:lnTo>
                    <a:pt x="648861" y="241711"/>
                  </a:lnTo>
                  <a:lnTo>
                    <a:pt x="626146" y="234613"/>
                  </a:lnTo>
                  <a:lnTo>
                    <a:pt x="623307" y="233193"/>
                  </a:lnTo>
                  <a:lnTo>
                    <a:pt x="602011" y="226094"/>
                  </a:lnTo>
                  <a:lnTo>
                    <a:pt x="600592" y="224675"/>
                  </a:lnTo>
                  <a:lnTo>
                    <a:pt x="572197" y="214737"/>
                  </a:lnTo>
                  <a:lnTo>
                    <a:pt x="569358" y="213317"/>
                  </a:lnTo>
                  <a:lnTo>
                    <a:pt x="540964" y="203379"/>
                  </a:lnTo>
                  <a:lnTo>
                    <a:pt x="538125" y="201959"/>
                  </a:lnTo>
                  <a:lnTo>
                    <a:pt x="498373" y="187762"/>
                  </a:lnTo>
                  <a:lnTo>
                    <a:pt x="495534" y="186343"/>
                  </a:lnTo>
                  <a:lnTo>
                    <a:pt x="455782" y="172146"/>
                  </a:lnTo>
                  <a:lnTo>
                    <a:pt x="452942" y="170726"/>
                  </a:lnTo>
                  <a:lnTo>
                    <a:pt x="418870" y="157949"/>
                  </a:lnTo>
                  <a:lnTo>
                    <a:pt x="416030" y="156529"/>
                  </a:lnTo>
                  <a:lnTo>
                    <a:pt x="381957" y="143752"/>
                  </a:lnTo>
                  <a:lnTo>
                    <a:pt x="379118" y="142332"/>
                  </a:lnTo>
                  <a:lnTo>
                    <a:pt x="346465" y="129555"/>
                  </a:lnTo>
                  <a:lnTo>
                    <a:pt x="343625" y="128135"/>
                  </a:lnTo>
                  <a:lnTo>
                    <a:pt x="310972" y="115358"/>
                  </a:lnTo>
                  <a:lnTo>
                    <a:pt x="308133" y="113938"/>
                  </a:lnTo>
                  <a:lnTo>
                    <a:pt x="274060" y="102580"/>
                  </a:lnTo>
                  <a:lnTo>
                    <a:pt x="271221" y="101161"/>
                  </a:lnTo>
                  <a:lnTo>
                    <a:pt x="238567" y="88383"/>
                  </a:lnTo>
                  <a:lnTo>
                    <a:pt x="235728" y="86964"/>
                  </a:lnTo>
                  <a:lnTo>
                    <a:pt x="235728" y="86964"/>
                  </a:lnTo>
                  <a:lnTo>
                    <a:pt x="232889" y="85544"/>
                  </a:lnTo>
                  <a:lnTo>
                    <a:pt x="203075" y="77026"/>
                  </a:lnTo>
                  <a:lnTo>
                    <a:pt x="200236" y="75606"/>
                  </a:lnTo>
                  <a:lnTo>
                    <a:pt x="188878" y="71347"/>
                  </a:lnTo>
                  <a:lnTo>
                    <a:pt x="186038" y="69927"/>
                  </a:lnTo>
                  <a:lnTo>
                    <a:pt x="166163" y="62829"/>
                  </a:lnTo>
                  <a:lnTo>
                    <a:pt x="163323" y="61409"/>
                  </a:lnTo>
                  <a:lnTo>
                    <a:pt x="136349" y="51471"/>
                  </a:lnTo>
                  <a:cubicBezTo>
                    <a:pt x="136349" y="51471"/>
                    <a:pt x="136349" y="51471"/>
                    <a:pt x="134929" y="51471"/>
                  </a:cubicBezTo>
                  <a:cubicBezTo>
                    <a:pt x="134929" y="51471"/>
                    <a:pt x="134929" y="51471"/>
                    <a:pt x="133510" y="51471"/>
                  </a:cubicBezTo>
                  <a:cubicBezTo>
                    <a:pt x="133510" y="51471"/>
                    <a:pt x="133510" y="51471"/>
                    <a:pt x="132090" y="51471"/>
                  </a:cubicBezTo>
                  <a:lnTo>
                    <a:pt x="132090" y="48632"/>
                  </a:lnTo>
                  <a:lnTo>
                    <a:pt x="129250" y="45792"/>
                  </a:lnTo>
                  <a:lnTo>
                    <a:pt x="126411" y="42953"/>
                  </a:lnTo>
                  <a:cubicBezTo>
                    <a:pt x="126411" y="42953"/>
                    <a:pt x="124991" y="41533"/>
                    <a:pt x="124991" y="41533"/>
                  </a:cubicBezTo>
                  <a:lnTo>
                    <a:pt x="27032" y="362"/>
                  </a:lnTo>
                  <a:cubicBezTo>
                    <a:pt x="22773" y="-1058"/>
                    <a:pt x="17094" y="1781"/>
                    <a:pt x="14255" y="7460"/>
                  </a:cubicBezTo>
                  <a:lnTo>
                    <a:pt x="1477" y="40113"/>
                  </a:lnTo>
                  <a:cubicBezTo>
                    <a:pt x="-1362" y="45792"/>
                    <a:pt x="58" y="52891"/>
                    <a:pt x="4317" y="54311"/>
                  </a:cubicBezTo>
                  <a:close/>
                </a:path>
              </a:pathLst>
            </a:custGeom>
            <a:solidFill>
              <a:srgbClr val="63402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1" name="任意多边形: 形状 10150">
              <a:extLst>
                <a:ext uri="{FF2B5EF4-FFF2-40B4-BE49-F238E27FC236}">
                  <a16:creationId xmlns:a16="http://schemas.microsoft.com/office/drawing/2014/main" id="{A9AB75D5-9CA6-47A2-9B9B-D19A38250853}"/>
                </a:ext>
              </a:extLst>
            </p:cNvPr>
            <p:cNvSpPr/>
            <p:nvPr userDrawn="1"/>
          </p:nvSpPr>
          <p:spPr>
            <a:xfrm>
              <a:off x="5187761" y="4433393"/>
              <a:ext cx="14197" cy="42591"/>
            </a:xfrm>
            <a:custGeom>
              <a:avLst/>
              <a:gdLst>
                <a:gd name="connsiteX0" fmla="*/ 21296 w 14197"/>
                <a:gd name="connsiteY0" fmla="*/ 0 h 42591"/>
                <a:gd name="connsiteX1" fmla="*/ 2839 w 14197"/>
                <a:gd name="connsiteY1" fmla="*/ 46850 h 42591"/>
                <a:gd name="connsiteX2" fmla="*/ 0 w 14197"/>
                <a:gd name="connsiteY2" fmla="*/ 45431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1296" y="0"/>
                  </a:moveTo>
                  <a:lnTo>
                    <a:pt x="2839" y="46850"/>
                  </a:lnTo>
                  <a:lnTo>
                    <a:pt x="0" y="45431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2" name="任意多边形: 形状 10151">
              <a:extLst>
                <a:ext uri="{FF2B5EF4-FFF2-40B4-BE49-F238E27FC236}">
                  <a16:creationId xmlns:a16="http://schemas.microsoft.com/office/drawing/2014/main" id="{A128D338-C7DF-4E18-B195-F002B2593D39}"/>
                </a:ext>
              </a:extLst>
            </p:cNvPr>
            <p:cNvSpPr/>
            <p:nvPr userDrawn="1"/>
          </p:nvSpPr>
          <p:spPr>
            <a:xfrm>
              <a:off x="5149429" y="4417776"/>
              <a:ext cx="14197" cy="42591"/>
            </a:xfrm>
            <a:custGeom>
              <a:avLst/>
              <a:gdLst>
                <a:gd name="connsiteX0" fmla="*/ 0 w 14197"/>
                <a:gd name="connsiteY0" fmla="*/ 45431 h 42591"/>
                <a:gd name="connsiteX1" fmla="*/ 2839 w 14197"/>
                <a:gd name="connsiteY1" fmla="*/ 45431 h 42591"/>
                <a:gd name="connsiteX2" fmla="*/ 21296 w 14197"/>
                <a:gd name="connsiteY2" fmla="*/ 1420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0" y="45431"/>
                  </a:moveTo>
                  <a:lnTo>
                    <a:pt x="2839" y="45431"/>
                  </a:lnTo>
                  <a:lnTo>
                    <a:pt x="21296" y="1420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3" name="任意多边形: 形状 10152">
              <a:extLst>
                <a:ext uri="{FF2B5EF4-FFF2-40B4-BE49-F238E27FC236}">
                  <a16:creationId xmlns:a16="http://schemas.microsoft.com/office/drawing/2014/main" id="{EB6A9F6D-91E5-4899-9E9E-90CC62A8CA68}"/>
                </a:ext>
              </a:extLst>
            </p:cNvPr>
            <p:cNvSpPr/>
            <p:nvPr userDrawn="1"/>
          </p:nvSpPr>
          <p:spPr>
            <a:xfrm>
              <a:off x="5103998" y="4400740"/>
              <a:ext cx="14197" cy="42591"/>
            </a:xfrm>
            <a:custGeom>
              <a:avLst/>
              <a:gdLst>
                <a:gd name="connsiteX0" fmla="*/ 0 w 14197"/>
                <a:gd name="connsiteY0" fmla="*/ 42591 h 42591"/>
                <a:gd name="connsiteX1" fmla="*/ 2839 w 14197"/>
                <a:gd name="connsiteY1" fmla="*/ 44011 h 42591"/>
                <a:gd name="connsiteX2" fmla="*/ 19876 w 14197"/>
                <a:gd name="connsiteY2" fmla="*/ 1420 h 42591"/>
                <a:gd name="connsiteX3" fmla="*/ 1703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0" y="42591"/>
                  </a:moveTo>
                  <a:lnTo>
                    <a:pt x="2839" y="44011"/>
                  </a:lnTo>
                  <a:lnTo>
                    <a:pt x="19876" y="1420"/>
                  </a:lnTo>
                  <a:lnTo>
                    <a:pt x="1703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4" name="任意多边形: 形状 10153">
              <a:extLst>
                <a:ext uri="{FF2B5EF4-FFF2-40B4-BE49-F238E27FC236}">
                  <a16:creationId xmlns:a16="http://schemas.microsoft.com/office/drawing/2014/main" id="{1B7AAF73-9E9A-4403-A249-97F602D0A41E}"/>
                </a:ext>
              </a:extLst>
            </p:cNvPr>
            <p:cNvSpPr/>
            <p:nvPr userDrawn="1"/>
          </p:nvSpPr>
          <p:spPr>
            <a:xfrm>
              <a:off x="5050050" y="4379444"/>
              <a:ext cx="14197" cy="42591"/>
            </a:xfrm>
            <a:custGeom>
              <a:avLst/>
              <a:gdLst>
                <a:gd name="connsiteX0" fmla="*/ 0 w 14197"/>
                <a:gd name="connsiteY0" fmla="*/ 42591 h 42591"/>
                <a:gd name="connsiteX1" fmla="*/ 1420 w 14197"/>
                <a:gd name="connsiteY1" fmla="*/ 42591 h 42591"/>
                <a:gd name="connsiteX2" fmla="*/ 2839 w 14197"/>
                <a:gd name="connsiteY2" fmla="*/ 42591 h 42591"/>
                <a:gd name="connsiteX3" fmla="*/ 4259 w 14197"/>
                <a:gd name="connsiteY3" fmla="*/ 42591 h 42591"/>
                <a:gd name="connsiteX4" fmla="*/ 21296 w 14197"/>
                <a:gd name="connsiteY4" fmla="*/ 1420 h 42591"/>
                <a:gd name="connsiteX5" fmla="*/ 19876 w 14197"/>
                <a:gd name="connsiteY5" fmla="*/ 1420 h 42591"/>
                <a:gd name="connsiteX6" fmla="*/ 18456 w 14197"/>
                <a:gd name="connsiteY6" fmla="*/ 1420 h 42591"/>
                <a:gd name="connsiteX7" fmla="*/ 17036 w 14197"/>
                <a:gd name="connsiteY7" fmla="*/ 0 h 42591"/>
                <a:gd name="connsiteX8" fmla="*/ 0 w 14197"/>
                <a:gd name="connsiteY8" fmla="*/ 42591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97" h="42591">
                  <a:moveTo>
                    <a:pt x="0" y="42591"/>
                  </a:moveTo>
                  <a:lnTo>
                    <a:pt x="1420" y="42591"/>
                  </a:lnTo>
                  <a:cubicBezTo>
                    <a:pt x="1420" y="42591"/>
                    <a:pt x="1420" y="42591"/>
                    <a:pt x="2839" y="42591"/>
                  </a:cubicBezTo>
                  <a:cubicBezTo>
                    <a:pt x="2839" y="42591"/>
                    <a:pt x="2839" y="42591"/>
                    <a:pt x="4259" y="42591"/>
                  </a:cubicBezTo>
                  <a:lnTo>
                    <a:pt x="21296" y="1420"/>
                  </a:lnTo>
                  <a:cubicBezTo>
                    <a:pt x="21296" y="1420"/>
                    <a:pt x="21296" y="1420"/>
                    <a:pt x="19876" y="1420"/>
                  </a:cubicBezTo>
                  <a:cubicBezTo>
                    <a:pt x="19876" y="1420"/>
                    <a:pt x="19876" y="1420"/>
                    <a:pt x="18456" y="1420"/>
                  </a:cubicBezTo>
                  <a:lnTo>
                    <a:pt x="17036" y="0"/>
                  </a:lnTo>
                  <a:lnTo>
                    <a:pt x="0" y="42591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5" name="任意多边形: 形状 10154">
              <a:extLst>
                <a:ext uri="{FF2B5EF4-FFF2-40B4-BE49-F238E27FC236}">
                  <a16:creationId xmlns:a16="http://schemas.microsoft.com/office/drawing/2014/main" id="{877EB1B6-BAFC-4EA2-9FEF-05A3890099CD}"/>
                </a:ext>
              </a:extLst>
            </p:cNvPr>
            <p:cNvSpPr/>
            <p:nvPr userDrawn="1"/>
          </p:nvSpPr>
          <p:spPr>
            <a:xfrm>
              <a:off x="5223253" y="4446170"/>
              <a:ext cx="14197" cy="42591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48270 h 42591"/>
                <a:gd name="connsiteX2" fmla="*/ 0 w 14197"/>
                <a:gd name="connsiteY2" fmla="*/ 46850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48270"/>
                  </a:lnTo>
                  <a:lnTo>
                    <a:pt x="0" y="46850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6" name="任意多边形: 形状 10155">
              <a:extLst>
                <a:ext uri="{FF2B5EF4-FFF2-40B4-BE49-F238E27FC236}">
                  <a16:creationId xmlns:a16="http://schemas.microsoft.com/office/drawing/2014/main" id="{558CE5B9-8677-4E5E-9B2F-F4AB10741C50}"/>
                </a:ext>
              </a:extLst>
            </p:cNvPr>
            <p:cNvSpPr/>
            <p:nvPr userDrawn="1"/>
          </p:nvSpPr>
          <p:spPr>
            <a:xfrm>
              <a:off x="5258746" y="4458947"/>
              <a:ext cx="14197" cy="42591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49690 h 42591"/>
                <a:gd name="connsiteX2" fmla="*/ 0 w 14197"/>
                <a:gd name="connsiteY2" fmla="*/ 4827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49690"/>
                  </a:lnTo>
                  <a:lnTo>
                    <a:pt x="0" y="4827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7" name="任意多边形: 形状 10156">
              <a:extLst>
                <a:ext uri="{FF2B5EF4-FFF2-40B4-BE49-F238E27FC236}">
                  <a16:creationId xmlns:a16="http://schemas.microsoft.com/office/drawing/2014/main" id="{67407269-A4B6-4E8B-94CC-1EFEA54CB858}"/>
                </a:ext>
              </a:extLst>
            </p:cNvPr>
            <p:cNvSpPr/>
            <p:nvPr userDrawn="1"/>
          </p:nvSpPr>
          <p:spPr>
            <a:xfrm>
              <a:off x="5294238" y="4473144"/>
              <a:ext cx="14197" cy="42591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51109 h 42591"/>
                <a:gd name="connsiteX2" fmla="*/ 0 w 14197"/>
                <a:gd name="connsiteY2" fmla="*/ 4969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51109"/>
                  </a:lnTo>
                  <a:lnTo>
                    <a:pt x="0" y="4969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8" name="任意多边形: 形状 10157">
              <a:extLst>
                <a:ext uri="{FF2B5EF4-FFF2-40B4-BE49-F238E27FC236}">
                  <a16:creationId xmlns:a16="http://schemas.microsoft.com/office/drawing/2014/main" id="{21CDB831-76CD-46C9-AC7E-618F5EB66F8D}"/>
                </a:ext>
              </a:extLst>
            </p:cNvPr>
            <p:cNvSpPr/>
            <p:nvPr userDrawn="1"/>
          </p:nvSpPr>
          <p:spPr>
            <a:xfrm>
              <a:off x="5331151" y="4487341"/>
              <a:ext cx="14197" cy="42591"/>
            </a:xfrm>
            <a:custGeom>
              <a:avLst/>
              <a:gdLst>
                <a:gd name="connsiteX0" fmla="*/ 22715 w 14197"/>
                <a:gd name="connsiteY0" fmla="*/ 0 h 42591"/>
                <a:gd name="connsiteX1" fmla="*/ 2839 w 14197"/>
                <a:gd name="connsiteY1" fmla="*/ 51109 h 42591"/>
                <a:gd name="connsiteX2" fmla="*/ 0 w 14197"/>
                <a:gd name="connsiteY2" fmla="*/ 4969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0"/>
                  </a:moveTo>
                  <a:lnTo>
                    <a:pt x="2839" y="51109"/>
                  </a:lnTo>
                  <a:lnTo>
                    <a:pt x="0" y="4969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9" name="任意多边形: 形状 10158">
              <a:extLst>
                <a:ext uri="{FF2B5EF4-FFF2-40B4-BE49-F238E27FC236}">
                  <a16:creationId xmlns:a16="http://schemas.microsoft.com/office/drawing/2014/main" id="{9B277020-1F8A-4C77-BED2-FD566725F027}"/>
                </a:ext>
              </a:extLst>
            </p:cNvPr>
            <p:cNvSpPr/>
            <p:nvPr userDrawn="1"/>
          </p:nvSpPr>
          <p:spPr>
            <a:xfrm>
              <a:off x="5368063" y="4500119"/>
              <a:ext cx="14197" cy="42591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53949 h 42591"/>
                <a:gd name="connsiteX2" fmla="*/ 0 w 14197"/>
                <a:gd name="connsiteY2" fmla="*/ 52529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53949"/>
                  </a:lnTo>
                  <a:lnTo>
                    <a:pt x="0" y="52529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0" name="任意多边形: 形状 10159">
              <a:extLst>
                <a:ext uri="{FF2B5EF4-FFF2-40B4-BE49-F238E27FC236}">
                  <a16:creationId xmlns:a16="http://schemas.microsoft.com/office/drawing/2014/main" id="{82113D99-6944-4ECC-8FDF-9C336EF47B7F}"/>
                </a:ext>
              </a:extLst>
            </p:cNvPr>
            <p:cNvSpPr/>
            <p:nvPr userDrawn="1"/>
          </p:nvSpPr>
          <p:spPr>
            <a:xfrm>
              <a:off x="5409234" y="4517155"/>
              <a:ext cx="14197" cy="42591"/>
            </a:xfrm>
            <a:custGeom>
              <a:avLst/>
              <a:gdLst>
                <a:gd name="connsiteX0" fmla="*/ 24135 w 14197"/>
                <a:gd name="connsiteY0" fmla="*/ 0 h 42591"/>
                <a:gd name="connsiteX1" fmla="*/ 2839 w 14197"/>
                <a:gd name="connsiteY1" fmla="*/ 53949 h 42591"/>
                <a:gd name="connsiteX2" fmla="*/ 0 w 14197"/>
                <a:gd name="connsiteY2" fmla="*/ 52529 h 42591"/>
                <a:gd name="connsiteX3" fmla="*/ 2129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4135" y="0"/>
                  </a:moveTo>
                  <a:lnTo>
                    <a:pt x="2839" y="53949"/>
                  </a:lnTo>
                  <a:lnTo>
                    <a:pt x="0" y="52529"/>
                  </a:lnTo>
                  <a:lnTo>
                    <a:pt x="2129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1" name="任意多边形: 形状 10160">
              <a:extLst>
                <a:ext uri="{FF2B5EF4-FFF2-40B4-BE49-F238E27FC236}">
                  <a16:creationId xmlns:a16="http://schemas.microsoft.com/office/drawing/2014/main" id="{2B4CAF53-A60A-4DC5-A8F1-CD69AAD64C41}"/>
                </a:ext>
              </a:extLst>
            </p:cNvPr>
            <p:cNvSpPr/>
            <p:nvPr userDrawn="1"/>
          </p:nvSpPr>
          <p:spPr>
            <a:xfrm>
              <a:off x="5450406" y="4532772"/>
              <a:ext cx="14197" cy="42591"/>
            </a:xfrm>
            <a:custGeom>
              <a:avLst/>
              <a:gdLst>
                <a:gd name="connsiteX0" fmla="*/ 25555 w 14197"/>
                <a:gd name="connsiteY0" fmla="*/ 0 h 42591"/>
                <a:gd name="connsiteX1" fmla="*/ 2839 w 14197"/>
                <a:gd name="connsiteY1" fmla="*/ 55368 h 42591"/>
                <a:gd name="connsiteX2" fmla="*/ 0 w 14197"/>
                <a:gd name="connsiteY2" fmla="*/ 55368 h 42591"/>
                <a:gd name="connsiteX3" fmla="*/ 22715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5555" y="0"/>
                  </a:moveTo>
                  <a:lnTo>
                    <a:pt x="2839" y="55368"/>
                  </a:lnTo>
                  <a:lnTo>
                    <a:pt x="0" y="5536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2" name="任意多边形: 形状 10161">
              <a:extLst>
                <a:ext uri="{FF2B5EF4-FFF2-40B4-BE49-F238E27FC236}">
                  <a16:creationId xmlns:a16="http://schemas.microsoft.com/office/drawing/2014/main" id="{BB355227-FFB4-4C8B-BC9A-6E406E1F6819}"/>
                </a:ext>
              </a:extLst>
            </p:cNvPr>
            <p:cNvSpPr/>
            <p:nvPr userDrawn="1"/>
          </p:nvSpPr>
          <p:spPr>
            <a:xfrm>
              <a:off x="5481639" y="4544129"/>
              <a:ext cx="14197" cy="56788"/>
            </a:xfrm>
            <a:custGeom>
              <a:avLst/>
              <a:gdLst>
                <a:gd name="connsiteX0" fmla="*/ 25555 w 14197"/>
                <a:gd name="connsiteY0" fmla="*/ 1420 h 56788"/>
                <a:gd name="connsiteX1" fmla="*/ 2839 w 14197"/>
                <a:gd name="connsiteY1" fmla="*/ 56788 h 56788"/>
                <a:gd name="connsiteX2" fmla="*/ 0 w 14197"/>
                <a:gd name="connsiteY2" fmla="*/ 55368 h 56788"/>
                <a:gd name="connsiteX3" fmla="*/ 2271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1420"/>
                  </a:moveTo>
                  <a:lnTo>
                    <a:pt x="2839" y="56788"/>
                  </a:lnTo>
                  <a:lnTo>
                    <a:pt x="0" y="5536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3" name="任意多边形: 形状 10162">
              <a:extLst>
                <a:ext uri="{FF2B5EF4-FFF2-40B4-BE49-F238E27FC236}">
                  <a16:creationId xmlns:a16="http://schemas.microsoft.com/office/drawing/2014/main" id="{A25882AD-DA31-4B63-821C-094A7BD9FEA2}"/>
                </a:ext>
              </a:extLst>
            </p:cNvPr>
            <p:cNvSpPr/>
            <p:nvPr userDrawn="1"/>
          </p:nvSpPr>
          <p:spPr>
            <a:xfrm>
              <a:off x="5512873" y="4555487"/>
              <a:ext cx="14197" cy="56788"/>
            </a:xfrm>
            <a:custGeom>
              <a:avLst/>
              <a:gdLst>
                <a:gd name="connsiteX0" fmla="*/ 22715 w 14197"/>
                <a:gd name="connsiteY0" fmla="*/ 0 h 56788"/>
                <a:gd name="connsiteX1" fmla="*/ 25555 w 14197"/>
                <a:gd name="connsiteY1" fmla="*/ 1420 h 56788"/>
                <a:gd name="connsiteX2" fmla="*/ 2839 w 14197"/>
                <a:gd name="connsiteY2" fmla="*/ 58208 h 56788"/>
                <a:gd name="connsiteX3" fmla="*/ 0 w 14197"/>
                <a:gd name="connsiteY3" fmla="*/ 56788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2715" y="0"/>
                  </a:moveTo>
                  <a:lnTo>
                    <a:pt x="25555" y="1420"/>
                  </a:lnTo>
                  <a:lnTo>
                    <a:pt x="2839" y="58208"/>
                  </a:lnTo>
                  <a:lnTo>
                    <a:pt x="0" y="56788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4" name="任意多边形: 形状 10163">
              <a:extLst>
                <a:ext uri="{FF2B5EF4-FFF2-40B4-BE49-F238E27FC236}">
                  <a16:creationId xmlns:a16="http://schemas.microsoft.com/office/drawing/2014/main" id="{8F749FD7-1A34-436B-B9DA-85F0C795035D}"/>
                </a:ext>
              </a:extLst>
            </p:cNvPr>
            <p:cNvSpPr/>
            <p:nvPr userDrawn="1"/>
          </p:nvSpPr>
          <p:spPr>
            <a:xfrm>
              <a:off x="5535588" y="4564005"/>
              <a:ext cx="14197" cy="56788"/>
            </a:xfrm>
            <a:custGeom>
              <a:avLst/>
              <a:gdLst>
                <a:gd name="connsiteX0" fmla="*/ 25555 w 14197"/>
                <a:gd name="connsiteY0" fmla="*/ 1420 h 56788"/>
                <a:gd name="connsiteX1" fmla="*/ 2839 w 14197"/>
                <a:gd name="connsiteY1" fmla="*/ 59627 h 56788"/>
                <a:gd name="connsiteX2" fmla="*/ 0 w 14197"/>
                <a:gd name="connsiteY2" fmla="*/ 58208 h 56788"/>
                <a:gd name="connsiteX3" fmla="*/ 2271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1420"/>
                  </a:moveTo>
                  <a:lnTo>
                    <a:pt x="2839" y="59627"/>
                  </a:lnTo>
                  <a:lnTo>
                    <a:pt x="0" y="5820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5" name="任意多边形: 形状 10164">
              <a:extLst>
                <a:ext uri="{FF2B5EF4-FFF2-40B4-BE49-F238E27FC236}">
                  <a16:creationId xmlns:a16="http://schemas.microsoft.com/office/drawing/2014/main" id="{9C633C70-318D-457F-AE0A-6AFD9EAD1886}"/>
                </a:ext>
              </a:extLst>
            </p:cNvPr>
            <p:cNvSpPr/>
            <p:nvPr userDrawn="1"/>
          </p:nvSpPr>
          <p:spPr>
            <a:xfrm>
              <a:off x="5556883" y="4572523"/>
              <a:ext cx="14197" cy="56788"/>
            </a:xfrm>
            <a:custGeom>
              <a:avLst/>
              <a:gdLst>
                <a:gd name="connsiteX0" fmla="*/ 26974 w 14197"/>
                <a:gd name="connsiteY0" fmla="*/ 1420 h 56788"/>
                <a:gd name="connsiteX1" fmla="*/ 2839 w 14197"/>
                <a:gd name="connsiteY1" fmla="*/ 61047 h 56788"/>
                <a:gd name="connsiteX2" fmla="*/ 0 w 14197"/>
                <a:gd name="connsiteY2" fmla="*/ 59627 h 56788"/>
                <a:gd name="connsiteX3" fmla="*/ 2413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6974" y="1420"/>
                  </a:moveTo>
                  <a:lnTo>
                    <a:pt x="2839" y="61047"/>
                  </a:lnTo>
                  <a:lnTo>
                    <a:pt x="0" y="59627"/>
                  </a:lnTo>
                  <a:lnTo>
                    <a:pt x="2413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6" name="任意多边形: 形状 10165">
              <a:extLst>
                <a:ext uri="{FF2B5EF4-FFF2-40B4-BE49-F238E27FC236}">
                  <a16:creationId xmlns:a16="http://schemas.microsoft.com/office/drawing/2014/main" id="{C0D65603-B054-43FC-814C-264E1D618A1B}"/>
                </a:ext>
              </a:extLst>
            </p:cNvPr>
            <p:cNvSpPr/>
            <p:nvPr userDrawn="1"/>
          </p:nvSpPr>
          <p:spPr>
            <a:xfrm>
              <a:off x="5579599" y="4581042"/>
              <a:ext cx="28394" cy="56788"/>
            </a:xfrm>
            <a:custGeom>
              <a:avLst/>
              <a:gdLst>
                <a:gd name="connsiteX0" fmla="*/ 28394 w 28394"/>
                <a:gd name="connsiteY0" fmla="*/ 1420 h 56788"/>
                <a:gd name="connsiteX1" fmla="*/ 2839 w 28394"/>
                <a:gd name="connsiteY1" fmla="*/ 61047 h 56788"/>
                <a:gd name="connsiteX2" fmla="*/ 0 w 28394"/>
                <a:gd name="connsiteY2" fmla="*/ 59628 h 56788"/>
                <a:gd name="connsiteX3" fmla="*/ 24135 w 28394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8394" y="1420"/>
                  </a:moveTo>
                  <a:lnTo>
                    <a:pt x="2839" y="61047"/>
                  </a:lnTo>
                  <a:lnTo>
                    <a:pt x="0" y="59628"/>
                  </a:lnTo>
                  <a:lnTo>
                    <a:pt x="2413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7" name="任意多边形: 形状 10166">
              <a:extLst>
                <a:ext uri="{FF2B5EF4-FFF2-40B4-BE49-F238E27FC236}">
                  <a16:creationId xmlns:a16="http://schemas.microsoft.com/office/drawing/2014/main" id="{7696ED8D-C4DC-4ED8-B14B-C85A1BF348F8}"/>
                </a:ext>
              </a:extLst>
            </p:cNvPr>
            <p:cNvSpPr/>
            <p:nvPr userDrawn="1"/>
          </p:nvSpPr>
          <p:spPr>
            <a:xfrm>
              <a:off x="5602077" y="4589533"/>
              <a:ext cx="14197" cy="56788"/>
            </a:xfrm>
            <a:custGeom>
              <a:avLst/>
              <a:gdLst>
                <a:gd name="connsiteX0" fmla="*/ 0 w 14197"/>
                <a:gd name="connsiteY0" fmla="*/ 60552 h 56788"/>
                <a:gd name="connsiteX1" fmla="*/ 24464 w 14197"/>
                <a:gd name="connsiteY1" fmla="*/ 0 h 56788"/>
                <a:gd name="connsiteX2" fmla="*/ 27096 w 14197"/>
                <a:gd name="connsiteY2" fmla="*/ 1064 h 56788"/>
                <a:gd name="connsiteX3" fmla="*/ 2633 w 14197"/>
                <a:gd name="connsiteY3" fmla="*/ 61616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0" y="60552"/>
                  </a:moveTo>
                  <a:lnTo>
                    <a:pt x="24464" y="0"/>
                  </a:lnTo>
                  <a:lnTo>
                    <a:pt x="27096" y="1064"/>
                  </a:lnTo>
                  <a:lnTo>
                    <a:pt x="2633" y="61616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8" name="任意多边形: 形状 10167">
              <a:extLst>
                <a:ext uri="{FF2B5EF4-FFF2-40B4-BE49-F238E27FC236}">
                  <a16:creationId xmlns:a16="http://schemas.microsoft.com/office/drawing/2014/main" id="{160EA730-E2A2-4679-8B5B-02005030E747}"/>
                </a:ext>
              </a:extLst>
            </p:cNvPr>
            <p:cNvSpPr/>
            <p:nvPr userDrawn="1"/>
          </p:nvSpPr>
          <p:spPr>
            <a:xfrm>
              <a:off x="5622190" y="4598078"/>
              <a:ext cx="28394" cy="56788"/>
            </a:xfrm>
            <a:custGeom>
              <a:avLst/>
              <a:gdLst>
                <a:gd name="connsiteX0" fmla="*/ 25555 w 28394"/>
                <a:gd name="connsiteY0" fmla="*/ 0 h 56788"/>
                <a:gd name="connsiteX1" fmla="*/ 28394 w 28394"/>
                <a:gd name="connsiteY1" fmla="*/ 0 h 56788"/>
                <a:gd name="connsiteX2" fmla="*/ 2839 w 28394"/>
                <a:gd name="connsiteY2" fmla="*/ 62467 h 56788"/>
                <a:gd name="connsiteX3" fmla="*/ 0 w 28394"/>
                <a:gd name="connsiteY3" fmla="*/ 61047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5555" y="0"/>
                  </a:moveTo>
                  <a:lnTo>
                    <a:pt x="28394" y="0"/>
                  </a:lnTo>
                  <a:lnTo>
                    <a:pt x="2839" y="62467"/>
                  </a:lnTo>
                  <a:lnTo>
                    <a:pt x="0" y="61047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9" name="任意多边形: 形状 10168">
              <a:extLst>
                <a:ext uri="{FF2B5EF4-FFF2-40B4-BE49-F238E27FC236}">
                  <a16:creationId xmlns:a16="http://schemas.microsoft.com/office/drawing/2014/main" id="{E1963866-4E34-4D17-9FD1-BC2BC523EC18}"/>
                </a:ext>
              </a:extLst>
            </p:cNvPr>
            <p:cNvSpPr/>
            <p:nvPr userDrawn="1"/>
          </p:nvSpPr>
          <p:spPr>
            <a:xfrm>
              <a:off x="5643485" y="4605177"/>
              <a:ext cx="28394" cy="56788"/>
            </a:xfrm>
            <a:custGeom>
              <a:avLst/>
              <a:gdLst>
                <a:gd name="connsiteX0" fmla="*/ 28394 w 28394"/>
                <a:gd name="connsiteY0" fmla="*/ 1420 h 56788"/>
                <a:gd name="connsiteX1" fmla="*/ 2839 w 28394"/>
                <a:gd name="connsiteY1" fmla="*/ 63887 h 56788"/>
                <a:gd name="connsiteX2" fmla="*/ 0 w 28394"/>
                <a:gd name="connsiteY2" fmla="*/ 62467 h 56788"/>
                <a:gd name="connsiteX3" fmla="*/ 25555 w 28394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8394" y="1420"/>
                  </a:moveTo>
                  <a:lnTo>
                    <a:pt x="2839" y="63887"/>
                  </a:lnTo>
                  <a:lnTo>
                    <a:pt x="0" y="62467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0" name="任意多边形: 形状 10169">
              <a:extLst>
                <a:ext uri="{FF2B5EF4-FFF2-40B4-BE49-F238E27FC236}">
                  <a16:creationId xmlns:a16="http://schemas.microsoft.com/office/drawing/2014/main" id="{74D46358-7A02-4A27-8E0F-E2BC3D950AC2}"/>
                </a:ext>
              </a:extLst>
            </p:cNvPr>
            <p:cNvSpPr/>
            <p:nvPr userDrawn="1"/>
          </p:nvSpPr>
          <p:spPr>
            <a:xfrm>
              <a:off x="5666200" y="4613695"/>
              <a:ext cx="14197" cy="56788"/>
            </a:xfrm>
            <a:custGeom>
              <a:avLst/>
              <a:gdLst>
                <a:gd name="connsiteX0" fmla="*/ 25555 w 14197"/>
                <a:gd name="connsiteY0" fmla="*/ 0 h 56788"/>
                <a:gd name="connsiteX1" fmla="*/ 0 w 14197"/>
                <a:gd name="connsiteY1" fmla="*/ 63887 h 56788"/>
                <a:gd name="connsiteX2" fmla="*/ 0 w 14197"/>
                <a:gd name="connsiteY2" fmla="*/ 62467 h 56788"/>
                <a:gd name="connsiteX3" fmla="*/ 2555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0"/>
                  </a:moveTo>
                  <a:lnTo>
                    <a:pt x="0" y="63887"/>
                  </a:lnTo>
                  <a:lnTo>
                    <a:pt x="0" y="62467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1" name="任意多边形: 形状 10170">
              <a:extLst>
                <a:ext uri="{FF2B5EF4-FFF2-40B4-BE49-F238E27FC236}">
                  <a16:creationId xmlns:a16="http://schemas.microsoft.com/office/drawing/2014/main" id="{83775633-2DE9-43C0-92A3-892724D8C3E9}"/>
                </a:ext>
              </a:extLst>
            </p:cNvPr>
            <p:cNvSpPr/>
            <p:nvPr userDrawn="1"/>
          </p:nvSpPr>
          <p:spPr>
            <a:xfrm>
              <a:off x="4973386" y="4353889"/>
              <a:ext cx="965397" cy="354926"/>
            </a:xfrm>
            <a:custGeom>
              <a:avLst/>
              <a:gdLst>
                <a:gd name="connsiteX0" fmla="*/ 56788 w 965397"/>
                <a:gd name="connsiteY0" fmla="*/ 28394 h 354925"/>
                <a:gd name="connsiteX1" fmla="*/ 0 w 965397"/>
                <a:gd name="connsiteY1" fmla="*/ 2839 h 354925"/>
                <a:gd name="connsiteX2" fmla="*/ 1420 w 965397"/>
                <a:gd name="connsiteY2" fmla="*/ 0 h 354925"/>
                <a:gd name="connsiteX3" fmla="*/ 56788 w 965397"/>
                <a:gd name="connsiteY3" fmla="*/ 25555 h 354925"/>
                <a:gd name="connsiteX4" fmla="*/ 93700 w 965397"/>
                <a:gd name="connsiteY4" fmla="*/ 29814 h 354925"/>
                <a:gd name="connsiteX5" fmla="*/ 965397 w 965397"/>
                <a:gd name="connsiteY5" fmla="*/ 363444 h 354925"/>
                <a:gd name="connsiteX6" fmla="*/ 963978 w 965397"/>
                <a:gd name="connsiteY6" fmla="*/ 366283 h 354925"/>
                <a:gd name="connsiteX7" fmla="*/ 93700 w 965397"/>
                <a:gd name="connsiteY7" fmla="*/ 31234 h 35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5397" h="354925">
                  <a:moveTo>
                    <a:pt x="56788" y="28394"/>
                  </a:moveTo>
                  <a:lnTo>
                    <a:pt x="0" y="2839"/>
                  </a:lnTo>
                  <a:lnTo>
                    <a:pt x="1420" y="0"/>
                  </a:lnTo>
                  <a:lnTo>
                    <a:pt x="56788" y="25555"/>
                  </a:lnTo>
                  <a:lnTo>
                    <a:pt x="93700" y="29814"/>
                  </a:lnTo>
                  <a:lnTo>
                    <a:pt x="965397" y="363444"/>
                  </a:lnTo>
                  <a:lnTo>
                    <a:pt x="963978" y="366283"/>
                  </a:lnTo>
                  <a:lnTo>
                    <a:pt x="93700" y="3123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2" name="任意多边形: 形状 10171">
              <a:extLst>
                <a:ext uri="{FF2B5EF4-FFF2-40B4-BE49-F238E27FC236}">
                  <a16:creationId xmlns:a16="http://schemas.microsoft.com/office/drawing/2014/main" id="{74569F8F-DAAC-4E55-9996-DE4AB727CA7D}"/>
                </a:ext>
              </a:extLst>
            </p:cNvPr>
            <p:cNvSpPr/>
            <p:nvPr userDrawn="1"/>
          </p:nvSpPr>
          <p:spPr>
            <a:xfrm>
              <a:off x="5030174" y="4379444"/>
              <a:ext cx="894412" cy="340728"/>
            </a:xfrm>
            <a:custGeom>
              <a:avLst/>
              <a:gdLst>
                <a:gd name="connsiteX0" fmla="*/ 0 w 894412"/>
                <a:gd name="connsiteY0" fmla="*/ 2839 h 340728"/>
                <a:gd name="connsiteX1" fmla="*/ 1420 w 894412"/>
                <a:gd name="connsiteY1" fmla="*/ 0 h 340728"/>
                <a:gd name="connsiteX2" fmla="*/ 34073 w 894412"/>
                <a:gd name="connsiteY2" fmla="*/ 12777 h 340728"/>
                <a:gd name="connsiteX3" fmla="*/ 902930 w 894412"/>
                <a:gd name="connsiteY3" fmla="*/ 350666 h 340728"/>
                <a:gd name="connsiteX4" fmla="*/ 902930 w 894412"/>
                <a:gd name="connsiteY4" fmla="*/ 353506 h 340728"/>
                <a:gd name="connsiteX5" fmla="*/ 32653 w 894412"/>
                <a:gd name="connsiteY5" fmla="*/ 15617 h 34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4412" h="340728">
                  <a:moveTo>
                    <a:pt x="0" y="2839"/>
                  </a:moveTo>
                  <a:lnTo>
                    <a:pt x="1420" y="0"/>
                  </a:lnTo>
                  <a:lnTo>
                    <a:pt x="34073" y="12777"/>
                  </a:lnTo>
                  <a:lnTo>
                    <a:pt x="902930" y="350666"/>
                  </a:lnTo>
                  <a:lnTo>
                    <a:pt x="902930" y="353506"/>
                  </a:lnTo>
                  <a:lnTo>
                    <a:pt x="32653" y="15617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3" name="任意多边形: 形状 10172">
              <a:extLst>
                <a:ext uri="{FF2B5EF4-FFF2-40B4-BE49-F238E27FC236}">
                  <a16:creationId xmlns:a16="http://schemas.microsoft.com/office/drawing/2014/main" id="{EFEAC487-0A0C-4376-802B-36DA9539CE0B}"/>
                </a:ext>
              </a:extLst>
            </p:cNvPr>
            <p:cNvSpPr/>
            <p:nvPr userDrawn="1"/>
          </p:nvSpPr>
          <p:spPr>
            <a:xfrm>
              <a:off x="4973386" y="4353889"/>
              <a:ext cx="951200" cy="383320"/>
            </a:xfrm>
            <a:custGeom>
              <a:avLst/>
              <a:gdLst>
                <a:gd name="connsiteX0" fmla="*/ 0 w 951200"/>
                <a:gd name="connsiteY0" fmla="*/ 2839 h 383319"/>
                <a:gd name="connsiteX1" fmla="*/ 1420 w 951200"/>
                <a:gd name="connsiteY1" fmla="*/ 0 h 383319"/>
                <a:gd name="connsiteX2" fmla="*/ 88021 w 951200"/>
                <a:gd name="connsiteY2" fmla="*/ 46850 h 383319"/>
                <a:gd name="connsiteX3" fmla="*/ 955459 w 951200"/>
                <a:gd name="connsiteY3" fmla="*/ 388998 h 383319"/>
                <a:gd name="connsiteX4" fmla="*/ 954040 w 951200"/>
                <a:gd name="connsiteY4" fmla="*/ 390418 h 383319"/>
                <a:gd name="connsiteX5" fmla="*/ 86602 w 951200"/>
                <a:gd name="connsiteY5" fmla="*/ 49690 h 383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1200" h="383319">
                  <a:moveTo>
                    <a:pt x="0" y="2839"/>
                  </a:moveTo>
                  <a:lnTo>
                    <a:pt x="1420" y="0"/>
                  </a:lnTo>
                  <a:lnTo>
                    <a:pt x="88021" y="46850"/>
                  </a:lnTo>
                  <a:lnTo>
                    <a:pt x="955459" y="388998"/>
                  </a:lnTo>
                  <a:lnTo>
                    <a:pt x="954040" y="390418"/>
                  </a:lnTo>
                  <a:lnTo>
                    <a:pt x="86602" y="49690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4" name="任意多边形: 形状 10173">
              <a:extLst>
                <a:ext uri="{FF2B5EF4-FFF2-40B4-BE49-F238E27FC236}">
                  <a16:creationId xmlns:a16="http://schemas.microsoft.com/office/drawing/2014/main" id="{79E54204-7499-4365-8021-1EB17310F3B4}"/>
                </a:ext>
              </a:extLst>
            </p:cNvPr>
            <p:cNvSpPr/>
            <p:nvPr userDrawn="1"/>
          </p:nvSpPr>
          <p:spPr>
            <a:xfrm>
              <a:off x="4981904" y="4382283"/>
              <a:ext cx="937003" cy="369123"/>
            </a:xfrm>
            <a:custGeom>
              <a:avLst/>
              <a:gdLst>
                <a:gd name="connsiteX0" fmla="*/ 0 w 937003"/>
                <a:gd name="connsiteY0" fmla="*/ 1420 h 369122"/>
                <a:gd name="connsiteX1" fmla="*/ 1420 w 937003"/>
                <a:gd name="connsiteY1" fmla="*/ 0 h 369122"/>
                <a:gd name="connsiteX2" fmla="*/ 75244 w 937003"/>
                <a:gd name="connsiteY2" fmla="*/ 26974 h 369122"/>
                <a:gd name="connsiteX3" fmla="*/ 941263 w 937003"/>
                <a:gd name="connsiteY3" fmla="*/ 373382 h 369122"/>
                <a:gd name="connsiteX4" fmla="*/ 941263 w 937003"/>
                <a:gd name="connsiteY4" fmla="*/ 374801 h 369122"/>
                <a:gd name="connsiteX5" fmla="*/ 73825 w 937003"/>
                <a:gd name="connsiteY5" fmla="*/ 29814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7003" h="369122">
                  <a:moveTo>
                    <a:pt x="0" y="1420"/>
                  </a:moveTo>
                  <a:lnTo>
                    <a:pt x="1420" y="0"/>
                  </a:lnTo>
                  <a:lnTo>
                    <a:pt x="75244" y="26974"/>
                  </a:lnTo>
                  <a:lnTo>
                    <a:pt x="941263" y="373382"/>
                  </a:lnTo>
                  <a:lnTo>
                    <a:pt x="941263" y="374801"/>
                  </a:lnTo>
                  <a:lnTo>
                    <a:pt x="73825" y="2981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5" name="任意多边形: 形状 10174">
              <a:extLst>
                <a:ext uri="{FF2B5EF4-FFF2-40B4-BE49-F238E27FC236}">
                  <a16:creationId xmlns:a16="http://schemas.microsoft.com/office/drawing/2014/main" id="{BB74062A-74F9-414E-9725-0F37079A0E7E}"/>
                </a:ext>
              </a:extLst>
            </p:cNvPr>
            <p:cNvSpPr/>
            <p:nvPr userDrawn="1"/>
          </p:nvSpPr>
          <p:spPr>
            <a:xfrm>
              <a:off x="5010298" y="4393641"/>
              <a:ext cx="908609" cy="369123"/>
            </a:xfrm>
            <a:custGeom>
              <a:avLst/>
              <a:gdLst>
                <a:gd name="connsiteX0" fmla="*/ 0 w 908609"/>
                <a:gd name="connsiteY0" fmla="*/ 2839 h 369122"/>
                <a:gd name="connsiteX1" fmla="*/ 1420 w 908609"/>
                <a:gd name="connsiteY1" fmla="*/ 0 h 369122"/>
                <a:gd name="connsiteX2" fmla="*/ 44011 w 908609"/>
                <a:gd name="connsiteY2" fmla="*/ 25555 h 369122"/>
                <a:gd name="connsiteX3" fmla="*/ 908609 w 908609"/>
                <a:gd name="connsiteY3" fmla="*/ 373382 h 369122"/>
                <a:gd name="connsiteX4" fmla="*/ 907190 w 908609"/>
                <a:gd name="connsiteY4" fmla="*/ 376221 h 369122"/>
                <a:gd name="connsiteX5" fmla="*/ 42591 w 908609"/>
                <a:gd name="connsiteY5" fmla="*/ 26974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8609" h="369122">
                  <a:moveTo>
                    <a:pt x="0" y="2839"/>
                  </a:moveTo>
                  <a:lnTo>
                    <a:pt x="1420" y="0"/>
                  </a:lnTo>
                  <a:lnTo>
                    <a:pt x="44011" y="25555"/>
                  </a:lnTo>
                  <a:lnTo>
                    <a:pt x="908609" y="373382"/>
                  </a:lnTo>
                  <a:lnTo>
                    <a:pt x="907190" y="376221"/>
                  </a:lnTo>
                  <a:lnTo>
                    <a:pt x="42591" y="2697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6" name="任意多边形: 形状 10175">
              <a:extLst>
                <a:ext uri="{FF2B5EF4-FFF2-40B4-BE49-F238E27FC236}">
                  <a16:creationId xmlns:a16="http://schemas.microsoft.com/office/drawing/2014/main" id="{1DEE2755-CD25-4A38-837F-533C929207B9}"/>
                </a:ext>
              </a:extLst>
            </p:cNvPr>
            <p:cNvSpPr/>
            <p:nvPr userDrawn="1"/>
          </p:nvSpPr>
          <p:spPr>
            <a:xfrm>
              <a:off x="5002813" y="4393084"/>
              <a:ext cx="14197" cy="14197"/>
            </a:xfrm>
            <a:custGeom>
              <a:avLst/>
              <a:gdLst>
                <a:gd name="connsiteX0" fmla="*/ 387 w 0"/>
                <a:gd name="connsiteY0" fmla="*/ 3396 h 0"/>
                <a:gd name="connsiteX1" fmla="*/ 8905 w 0"/>
                <a:gd name="connsiteY1" fmla="*/ 557 h 0"/>
                <a:gd name="connsiteX2" fmla="*/ 8905 w 0"/>
                <a:gd name="connsiteY2" fmla="*/ 557 h 0"/>
                <a:gd name="connsiteX3" fmla="*/ 10325 w 0"/>
                <a:gd name="connsiteY3" fmla="*/ 1977 h 0"/>
                <a:gd name="connsiteX4" fmla="*/ 11745 w 0"/>
                <a:gd name="connsiteY4" fmla="*/ 3396 h 0"/>
                <a:gd name="connsiteX5" fmla="*/ 11745 w 0"/>
                <a:gd name="connsiteY5" fmla="*/ 3396 h 0"/>
                <a:gd name="connsiteX6" fmla="*/ 11745 w 0"/>
                <a:gd name="connsiteY6" fmla="*/ 4816 h 0"/>
                <a:gd name="connsiteX7" fmla="*/ 11745 w 0"/>
                <a:gd name="connsiteY7" fmla="*/ 7655 h 0"/>
                <a:gd name="connsiteX8" fmla="*/ 11745 w 0"/>
                <a:gd name="connsiteY8" fmla="*/ 7655 h 0"/>
                <a:gd name="connsiteX9" fmla="*/ 11745 w 0"/>
                <a:gd name="connsiteY9" fmla="*/ 9075 h 0"/>
                <a:gd name="connsiteX10" fmla="*/ 3226 w 0"/>
                <a:gd name="connsiteY10" fmla="*/ 11914 h 0"/>
                <a:gd name="connsiteX11" fmla="*/ 3226 w 0"/>
                <a:gd name="connsiteY11" fmla="*/ 11914 h 0"/>
                <a:gd name="connsiteX12" fmla="*/ 387 w 0"/>
                <a:gd name="connsiteY12" fmla="*/ 339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>
                  <a:moveTo>
                    <a:pt x="387" y="3396"/>
                  </a:moveTo>
                  <a:cubicBezTo>
                    <a:pt x="1807" y="557"/>
                    <a:pt x="6066" y="-863"/>
                    <a:pt x="8905" y="557"/>
                  </a:cubicBezTo>
                  <a:lnTo>
                    <a:pt x="8905" y="557"/>
                  </a:lnTo>
                  <a:cubicBezTo>
                    <a:pt x="8905" y="557"/>
                    <a:pt x="10325" y="557"/>
                    <a:pt x="10325" y="1977"/>
                  </a:cubicBezTo>
                  <a:cubicBezTo>
                    <a:pt x="10325" y="1977"/>
                    <a:pt x="10325" y="1977"/>
                    <a:pt x="11745" y="3396"/>
                  </a:cubicBezTo>
                  <a:cubicBezTo>
                    <a:pt x="11745" y="3396"/>
                    <a:pt x="11745" y="3396"/>
                    <a:pt x="11745" y="3396"/>
                  </a:cubicBezTo>
                  <a:cubicBezTo>
                    <a:pt x="11745" y="3396"/>
                    <a:pt x="11745" y="3396"/>
                    <a:pt x="11745" y="4816"/>
                  </a:cubicBezTo>
                  <a:cubicBezTo>
                    <a:pt x="11745" y="6236"/>
                    <a:pt x="11745" y="6236"/>
                    <a:pt x="11745" y="7655"/>
                  </a:cubicBezTo>
                  <a:cubicBezTo>
                    <a:pt x="11745" y="7655"/>
                    <a:pt x="11745" y="7655"/>
                    <a:pt x="11745" y="7655"/>
                  </a:cubicBezTo>
                  <a:cubicBezTo>
                    <a:pt x="11745" y="7655"/>
                    <a:pt x="11745" y="9075"/>
                    <a:pt x="11745" y="9075"/>
                  </a:cubicBezTo>
                  <a:cubicBezTo>
                    <a:pt x="10325" y="11914"/>
                    <a:pt x="6066" y="13334"/>
                    <a:pt x="3226" y="11914"/>
                  </a:cubicBezTo>
                  <a:lnTo>
                    <a:pt x="3226" y="11914"/>
                  </a:lnTo>
                  <a:cubicBezTo>
                    <a:pt x="1807" y="9075"/>
                    <a:pt x="-1033" y="6236"/>
                    <a:pt x="387" y="3396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7" name="任意多边形: 形状 10176">
              <a:extLst>
                <a:ext uri="{FF2B5EF4-FFF2-40B4-BE49-F238E27FC236}">
                  <a16:creationId xmlns:a16="http://schemas.microsoft.com/office/drawing/2014/main" id="{524E60F1-6AEC-4174-B965-EA8DE7082B80}"/>
                </a:ext>
              </a:extLst>
            </p:cNvPr>
            <p:cNvSpPr/>
            <p:nvPr userDrawn="1"/>
          </p:nvSpPr>
          <p:spPr>
            <a:xfrm>
              <a:off x="4996988" y="4356172"/>
              <a:ext cx="14197" cy="14197"/>
            </a:xfrm>
            <a:custGeom>
              <a:avLst/>
              <a:gdLst>
                <a:gd name="connsiteX0" fmla="*/ 4792 w 0"/>
                <a:gd name="connsiteY0" fmla="*/ 11915 h 0"/>
                <a:gd name="connsiteX1" fmla="*/ 4792 w 0"/>
                <a:gd name="connsiteY1" fmla="*/ 11915 h 0"/>
                <a:gd name="connsiteX2" fmla="*/ 4792 w 0"/>
                <a:gd name="connsiteY2" fmla="*/ 11915 h 0"/>
                <a:gd name="connsiteX3" fmla="*/ 532 w 0"/>
                <a:gd name="connsiteY3" fmla="*/ 3396 h 0"/>
                <a:gd name="connsiteX4" fmla="*/ 9051 w 0"/>
                <a:gd name="connsiteY4" fmla="*/ 557 h 0"/>
                <a:gd name="connsiteX5" fmla="*/ 9051 w 0"/>
                <a:gd name="connsiteY5" fmla="*/ 557 h 0"/>
                <a:gd name="connsiteX6" fmla="*/ 9051 w 0"/>
                <a:gd name="connsiteY6" fmla="*/ 557 h 0"/>
                <a:gd name="connsiteX7" fmla="*/ 9051 w 0"/>
                <a:gd name="connsiteY7" fmla="*/ 557 h 0"/>
                <a:gd name="connsiteX8" fmla="*/ 10470 w 0"/>
                <a:gd name="connsiteY8" fmla="*/ 557 h 0"/>
                <a:gd name="connsiteX9" fmla="*/ 13310 w 0"/>
                <a:gd name="connsiteY9" fmla="*/ 6236 h 0"/>
                <a:gd name="connsiteX10" fmla="*/ 13310 w 0"/>
                <a:gd name="connsiteY10" fmla="*/ 6236 h 0"/>
                <a:gd name="connsiteX11" fmla="*/ 13310 w 0"/>
                <a:gd name="connsiteY11" fmla="*/ 7656 h 0"/>
                <a:gd name="connsiteX12" fmla="*/ 13310 w 0"/>
                <a:gd name="connsiteY12" fmla="*/ 7656 h 0"/>
                <a:gd name="connsiteX13" fmla="*/ 13310 w 0"/>
                <a:gd name="connsiteY13" fmla="*/ 7656 h 0"/>
                <a:gd name="connsiteX14" fmla="*/ 13310 w 0"/>
                <a:gd name="connsiteY14" fmla="*/ 9075 h 0"/>
                <a:gd name="connsiteX15" fmla="*/ 13310 w 0"/>
                <a:gd name="connsiteY15" fmla="*/ 10495 h 0"/>
                <a:gd name="connsiteX16" fmla="*/ 11890 w 0"/>
                <a:gd name="connsiteY16" fmla="*/ 11915 h 0"/>
                <a:gd name="connsiteX17" fmla="*/ 4792 w 0"/>
                <a:gd name="connsiteY17" fmla="*/ 11915 h 0"/>
                <a:gd name="connsiteX18" fmla="*/ 4792 w 0"/>
                <a:gd name="connsiteY18" fmla="*/ 1191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>
                  <a:moveTo>
                    <a:pt x="4792" y="11915"/>
                  </a:moveTo>
                  <a:lnTo>
                    <a:pt x="4792" y="11915"/>
                  </a:lnTo>
                  <a:lnTo>
                    <a:pt x="4792" y="11915"/>
                  </a:lnTo>
                  <a:cubicBezTo>
                    <a:pt x="532" y="10495"/>
                    <a:pt x="-887" y="6236"/>
                    <a:pt x="532" y="3396"/>
                  </a:cubicBezTo>
                  <a:cubicBezTo>
                    <a:pt x="1952" y="557"/>
                    <a:pt x="6211" y="-863"/>
                    <a:pt x="9051" y="557"/>
                  </a:cubicBezTo>
                  <a:lnTo>
                    <a:pt x="9051" y="557"/>
                  </a:lnTo>
                  <a:lnTo>
                    <a:pt x="9051" y="557"/>
                  </a:lnTo>
                  <a:lnTo>
                    <a:pt x="9051" y="557"/>
                  </a:lnTo>
                  <a:cubicBezTo>
                    <a:pt x="9051" y="557"/>
                    <a:pt x="9051" y="557"/>
                    <a:pt x="10470" y="557"/>
                  </a:cubicBezTo>
                  <a:cubicBezTo>
                    <a:pt x="13310" y="1977"/>
                    <a:pt x="14729" y="4816"/>
                    <a:pt x="13310" y="6236"/>
                  </a:cubicBezTo>
                  <a:cubicBezTo>
                    <a:pt x="13310" y="6236"/>
                    <a:pt x="13310" y="6236"/>
                    <a:pt x="13310" y="6236"/>
                  </a:cubicBezTo>
                  <a:cubicBezTo>
                    <a:pt x="13310" y="6236"/>
                    <a:pt x="13310" y="6236"/>
                    <a:pt x="13310" y="7656"/>
                  </a:cubicBezTo>
                  <a:cubicBezTo>
                    <a:pt x="13310" y="7656"/>
                    <a:pt x="13310" y="7656"/>
                    <a:pt x="13310" y="7656"/>
                  </a:cubicBezTo>
                  <a:cubicBezTo>
                    <a:pt x="13310" y="7656"/>
                    <a:pt x="13310" y="7656"/>
                    <a:pt x="13310" y="7656"/>
                  </a:cubicBezTo>
                  <a:cubicBezTo>
                    <a:pt x="13310" y="7656"/>
                    <a:pt x="13310" y="7656"/>
                    <a:pt x="13310" y="9075"/>
                  </a:cubicBezTo>
                  <a:cubicBezTo>
                    <a:pt x="13310" y="9075"/>
                    <a:pt x="13310" y="9075"/>
                    <a:pt x="13310" y="10495"/>
                  </a:cubicBezTo>
                  <a:cubicBezTo>
                    <a:pt x="13310" y="10495"/>
                    <a:pt x="13310" y="10495"/>
                    <a:pt x="11890" y="11915"/>
                  </a:cubicBezTo>
                  <a:cubicBezTo>
                    <a:pt x="10470" y="11915"/>
                    <a:pt x="7631" y="13334"/>
                    <a:pt x="4792" y="11915"/>
                  </a:cubicBezTo>
                  <a:cubicBezTo>
                    <a:pt x="4792" y="11915"/>
                    <a:pt x="4792" y="11915"/>
                    <a:pt x="4792" y="11915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8" name="任意多边形: 形状 10177">
              <a:extLst>
                <a:ext uri="{FF2B5EF4-FFF2-40B4-BE49-F238E27FC236}">
                  <a16:creationId xmlns:a16="http://schemas.microsoft.com/office/drawing/2014/main" id="{C36F5B09-9C94-4B05-B0D0-8BE2844A89B0}"/>
                </a:ext>
              </a:extLst>
            </p:cNvPr>
            <p:cNvSpPr/>
            <p:nvPr userDrawn="1"/>
          </p:nvSpPr>
          <p:spPr>
            <a:xfrm>
              <a:off x="5025537" y="4368949"/>
              <a:ext cx="14197" cy="14197"/>
            </a:xfrm>
            <a:custGeom>
              <a:avLst/>
              <a:gdLst>
                <a:gd name="connsiteX0" fmla="*/ 8896 w 0"/>
                <a:gd name="connsiteY0" fmla="*/ 557 h 0"/>
                <a:gd name="connsiteX1" fmla="*/ 8896 w 0"/>
                <a:gd name="connsiteY1" fmla="*/ 557 h 0"/>
                <a:gd name="connsiteX2" fmla="*/ 13155 w 0"/>
                <a:gd name="connsiteY2" fmla="*/ 9075 h 0"/>
                <a:gd name="connsiteX3" fmla="*/ 4637 w 0"/>
                <a:gd name="connsiteY3" fmla="*/ 11915 h 0"/>
                <a:gd name="connsiteX4" fmla="*/ 4637 w 0"/>
                <a:gd name="connsiteY4" fmla="*/ 11915 h 0"/>
                <a:gd name="connsiteX5" fmla="*/ 378 w 0"/>
                <a:gd name="connsiteY5" fmla="*/ 3396 h 0"/>
                <a:gd name="connsiteX6" fmla="*/ 8896 w 0"/>
                <a:gd name="connsiteY6" fmla="*/ 55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8896" y="557"/>
                  </a:moveTo>
                  <a:lnTo>
                    <a:pt x="8896" y="557"/>
                  </a:lnTo>
                  <a:cubicBezTo>
                    <a:pt x="11735" y="1977"/>
                    <a:pt x="14575" y="6236"/>
                    <a:pt x="13155" y="9075"/>
                  </a:cubicBezTo>
                  <a:cubicBezTo>
                    <a:pt x="11735" y="11915"/>
                    <a:pt x="7476" y="13334"/>
                    <a:pt x="4637" y="11915"/>
                  </a:cubicBezTo>
                  <a:lnTo>
                    <a:pt x="4637" y="11915"/>
                  </a:lnTo>
                  <a:cubicBezTo>
                    <a:pt x="1797" y="10495"/>
                    <a:pt x="-1042" y="6236"/>
                    <a:pt x="378" y="3396"/>
                  </a:cubicBezTo>
                  <a:cubicBezTo>
                    <a:pt x="1797" y="557"/>
                    <a:pt x="6056" y="-863"/>
                    <a:pt x="8896" y="557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9" name="任意多边形: 形状 10178">
              <a:extLst>
                <a:ext uri="{FF2B5EF4-FFF2-40B4-BE49-F238E27FC236}">
                  <a16:creationId xmlns:a16="http://schemas.microsoft.com/office/drawing/2014/main" id="{3C4A996C-E52D-4BD9-8427-67F801152BD4}"/>
                </a:ext>
              </a:extLst>
            </p:cNvPr>
            <p:cNvSpPr/>
            <p:nvPr userDrawn="1"/>
          </p:nvSpPr>
          <p:spPr>
            <a:xfrm>
              <a:off x="5933967" y="4715913"/>
              <a:ext cx="14197" cy="14197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0"/>
                    <a:pt x="907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0" name="任意多边形: 形状 10179">
              <a:extLst>
                <a:ext uri="{FF2B5EF4-FFF2-40B4-BE49-F238E27FC236}">
                  <a16:creationId xmlns:a16="http://schemas.microsoft.com/office/drawing/2014/main" id="{B2B9B6EA-D137-4010-AD75-DA3A3DB874C6}"/>
                </a:ext>
              </a:extLst>
            </p:cNvPr>
            <p:cNvSpPr/>
            <p:nvPr userDrawn="1"/>
          </p:nvSpPr>
          <p:spPr>
            <a:xfrm>
              <a:off x="5928288" y="4727271"/>
              <a:ext cx="14197" cy="14197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9075" y="1420"/>
                    <a:pt x="10495" y="425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1" name="任意多边形: 形状 10180">
              <a:extLst>
                <a:ext uri="{FF2B5EF4-FFF2-40B4-BE49-F238E27FC236}">
                  <a16:creationId xmlns:a16="http://schemas.microsoft.com/office/drawing/2014/main" id="{BAA2A823-5C3C-483A-A164-37DDD7AA836C}"/>
                </a:ext>
              </a:extLst>
            </p:cNvPr>
            <p:cNvSpPr/>
            <p:nvPr userDrawn="1"/>
          </p:nvSpPr>
          <p:spPr>
            <a:xfrm>
              <a:off x="5924029" y="4740048"/>
              <a:ext cx="14197" cy="14197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0"/>
                    <a:pt x="907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2" name="任意多边形: 形状 10181">
              <a:extLst>
                <a:ext uri="{FF2B5EF4-FFF2-40B4-BE49-F238E27FC236}">
                  <a16:creationId xmlns:a16="http://schemas.microsoft.com/office/drawing/2014/main" id="{70C70E4B-DD31-4A3B-A145-E588B15AA354}"/>
                </a:ext>
              </a:extLst>
            </p:cNvPr>
            <p:cNvSpPr/>
            <p:nvPr userDrawn="1"/>
          </p:nvSpPr>
          <p:spPr>
            <a:xfrm>
              <a:off x="5918350" y="4752826"/>
              <a:ext cx="14197" cy="14197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9075" y="0"/>
                    <a:pt x="1049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3" name="任意多边形: 形状 10182">
              <a:extLst>
                <a:ext uri="{FF2B5EF4-FFF2-40B4-BE49-F238E27FC236}">
                  <a16:creationId xmlns:a16="http://schemas.microsoft.com/office/drawing/2014/main" id="{05316669-5ECC-4AD6-8B5A-A15B1AE6B56B}"/>
                </a:ext>
              </a:extLst>
            </p:cNvPr>
            <p:cNvSpPr/>
            <p:nvPr userDrawn="1"/>
          </p:nvSpPr>
          <p:spPr>
            <a:xfrm>
              <a:off x="5914091" y="4764183"/>
              <a:ext cx="14197" cy="14197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1420"/>
                    <a:pt x="9075" y="425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4" name="任意多边形: 形状 10183">
              <a:extLst>
                <a:ext uri="{FF2B5EF4-FFF2-40B4-BE49-F238E27FC236}">
                  <a16:creationId xmlns:a16="http://schemas.microsoft.com/office/drawing/2014/main" id="{27FD149A-FA9A-4C02-A647-5A13F68FB745}"/>
                </a:ext>
              </a:extLst>
            </p:cNvPr>
            <p:cNvSpPr/>
            <p:nvPr userDrawn="1"/>
          </p:nvSpPr>
          <p:spPr>
            <a:xfrm>
              <a:off x="5722661" y="4645563"/>
              <a:ext cx="156167" cy="85182"/>
            </a:xfrm>
            <a:custGeom>
              <a:avLst/>
              <a:gdLst>
                <a:gd name="connsiteX0" fmla="*/ 130940 w 156167"/>
                <a:gd name="connsiteY0" fmla="*/ 19241 h 85182"/>
                <a:gd name="connsiteX1" fmla="*/ 106805 w 156167"/>
                <a:gd name="connsiteY1" fmla="*/ 16402 h 85182"/>
                <a:gd name="connsiteX2" fmla="*/ 71313 w 156167"/>
                <a:gd name="connsiteY2" fmla="*/ 785 h 85182"/>
                <a:gd name="connsiteX3" fmla="*/ 34400 w 156167"/>
                <a:gd name="connsiteY3" fmla="*/ 12143 h 85182"/>
                <a:gd name="connsiteX4" fmla="*/ 38659 w 156167"/>
                <a:gd name="connsiteY4" fmla="*/ 22080 h 85182"/>
                <a:gd name="connsiteX5" fmla="*/ 327 w 156167"/>
                <a:gd name="connsiteY5" fmla="*/ 46215 h 85182"/>
                <a:gd name="connsiteX6" fmla="*/ 15944 w 156167"/>
                <a:gd name="connsiteY6" fmla="*/ 84547 h 85182"/>
                <a:gd name="connsiteX7" fmla="*/ 86929 w 156167"/>
                <a:gd name="connsiteY7" fmla="*/ 81708 h 85182"/>
                <a:gd name="connsiteX8" fmla="*/ 163593 w 156167"/>
                <a:gd name="connsiteY8" fmla="*/ 54734 h 85182"/>
                <a:gd name="connsiteX9" fmla="*/ 130940 w 156167"/>
                <a:gd name="connsiteY9" fmla="*/ 19241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167" h="85182">
                  <a:moveTo>
                    <a:pt x="130940" y="19241"/>
                  </a:moveTo>
                  <a:cubicBezTo>
                    <a:pt x="130940" y="19241"/>
                    <a:pt x="116743" y="22080"/>
                    <a:pt x="106805" y="16402"/>
                  </a:cubicBezTo>
                  <a:cubicBezTo>
                    <a:pt x="95448" y="10723"/>
                    <a:pt x="78411" y="-3474"/>
                    <a:pt x="71313" y="785"/>
                  </a:cubicBezTo>
                  <a:cubicBezTo>
                    <a:pt x="62794" y="6464"/>
                    <a:pt x="40079" y="12143"/>
                    <a:pt x="34400" y="12143"/>
                  </a:cubicBezTo>
                  <a:cubicBezTo>
                    <a:pt x="28721" y="12143"/>
                    <a:pt x="32981" y="16402"/>
                    <a:pt x="38659" y="22080"/>
                  </a:cubicBezTo>
                  <a:cubicBezTo>
                    <a:pt x="45758" y="26340"/>
                    <a:pt x="1747" y="33438"/>
                    <a:pt x="327" y="46215"/>
                  </a:cubicBezTo>
                  <a:cubicBezTo>
                    <a:pt x="-1092" y="58993"/>
                    <a:pt x="1747" y="73190"/>
                    <a:pt x="15944" y="84547"/>
                  </a:cubicBezTo>
                  <a:cubicBezTo>
                    <a:pt x="30141" y="94485"/>
                    <a:pt x="75572" y="85967"/>
                    <a:pt x="86929" y="81708"/>
                  </a:cubicBezTo>
                  <a:cubicBezTo>
                    <a:pt x="96867" y="76029"/>
                    <a:pt x="143717" y="53314"/>
                    <a:pt x="163593" y="54734"/>
                  </a:cubicBezTo>
                  <a:cubicBezTo>
                    <a:pt x="182049" y="53314"/>
                    <a:pt x="130940" y="19241"/>
                    <a:pt x="130940" y="19241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5" name="任意多边形: 形状 10184">
              <a:extLst>
                <a:ext uri="{FF2B5EF4-FFF2-40B4-BE49-F238E27FC236}">
                  <a16:creationId xmlns:a16="http://schemas.microsoft.com/office/drawing/2014/main" id="{B334E5C5-CAAE-45FD-95C2-5A87DFDC860D}"/>
                </a:ext>
              </a:extLst>
            </p:cNvPr>
            <p:cNvSpPr/>
            <p:nvPr userDrawn="1"/>
          </p:nvSpPr>
          <p:spPr>
            <a:xfrm>
              <a:off x="5823787" y="4485922"/>
              <a:ext cx="298137" cy="227152"/>
            </a:xfrm>
            <a:custGeom>
              <a:avLst/>
              <a:gdLst>
                <a:gd name="connsiteX0" fmla="*/ 0 w 298137"/>
                <a:gd name="connsiteY0" fmla="*/ 166105 h 227152"/>
                <a:gd name="connsiteX1" fmla="*/ 183141 w 298137"/>
                <a:gd name="connsiteY1" fmla="*/ 95120 h 227152"/>
                <a:gd name="connsiteX2" fmla="*/ 110737 w 298137"/>
                <a:gd name="connsiteY2" fmla="*/ 0 h 227152"/>
                <a:gd name="connsiteX3" fmla="*/ 242769 w 298137"/>
                <a:gd name="connsiteY3" fmla="*/ 14197 h 227152"/>
                <a:gd name="connsiteX4" fmla="*/ 308075 w 298137"/>
                <a:gd name="connsiteY4" fmla="*/ 134872 h 227152"/>
                <a:gd name="connsiteX5" fmla="*/ 29814 w 298137"/>
                <a:gd name="connsiteY5" fmla="*/ 229992 h 227152"/>
                <a:gd name="connsiteX6" fmla="*/ 0 w 298137"/>
                <a:gd name="connsiteY6" fmla="*/ 166105 h 227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8137" h="227152">
                  <a:moveTo>
                    <a:pt x="0" y="166105"/>
                  </a:moveTo>
                  <a:cubicBezTo>
                    <a:pt x="0" y="166105"/>
                    <a:pt x="181722" y="109317"/>
                    <a:pt x="183141" y="95120"/>
                  </a:cubicBezTo>
                  <a:cubicBezTo>
                    <a:pt x="184561" y="80923"/>
                    <a:pt x="110737" y="0"/>
                    <a:pt x="110737" y="0"/>
                  </a:cubicBezTo>
                  <a:lnTo>
                    <a:pt x="242769" y="14197"/>
                  </a:lnTo>
                  <a:cubicBezTo>
                    <a:pt x="242769" y="14197"/>
                    <a:pt x="308075" y="106478"/>
                    <a:pt x="308075" y="134872"/>
                  </a:cubicBezTo>
                  <a:cubicBezTo>
                    <a:pt x="308075" y="166105"/>
                    <a:pt x="29814" y="229992"/>
                    <a:pt x="29814" y="229992"/>
                  </a:cubicBezTo>
                  <a:lnTo>
                    <a:pt x="0" y="166105"/>
                  </a:ln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6" name="任意多边形: 形状 10185">
              <a:extLst>
                <a:ext uri="{FF2B5EF4-FFF2-40B4-BE49-F238E27FC236}">
                  <a16:creationId xmlns:a16="http://schemas.microsoft.com/office/drawing/2014/main" id="{32D7CF39-4ACD-4386-BC35-38831D7AA78C}"/>
                </a:ext>
              </a:extLst>
            </p:cNvPr>
            <p:cNvSpPr/>
            <p:nvPr userDrawn="1"/>
          </p:nvSpPr>
          <p:spPr>
            <a:xfrm>
              <a:off x="5687496" y="4258769"/>
              <a:ext cx="70985" cy="28394"/>
            </a:xfrm>
            <a:custGeom>
              <a:avLst/>
              <a:gdLst>
                <a:gd name="connsiteX0" fmla="*/ 15617 w 70985"/>
                <a:gd name="connsiteY0" fmla="*/ 41171 h 28394"/>
                <a:gd name="connsiteX1" fmla="*/ 26974 w 70985"/>
                <a:gd name="connsiteY1" fmla="*/ 39752 h 28394"/>
                <a:gd name="connsiteX2" fmla="*/ 70985 w 70985"/>
                <a:gd name="connsiteY2" fmla="*/ 1420 h 28394"/>
                <a:gd name="connsiteX3" fmla="*/ 68146 w 70985"/>
                <a:gd name="connsiteY3" fmla="*/ 0 h 28394"/>
                <a:gd name="connsiteX4" fmla="*/ 25555 w 70985"/>
                <a:gd name="connsiteY4" fmla="*/ 36912 h 28394"/>
                <a:gd name="connsiteX5" fmla="*/ 1420 w 70985"/>
                <a:gd name="connsiteY5" fmla="*/ 35493 h 28394"/>
                <a:gd name="connsiteX6" fmla="*/ 0 w 70985"/>
                <a:gd name="connsiteY6" fmla="*/ 38332 h 28394"/>
                <a:gd name="connsiteX7" fmla="*/ 15617 w 70985"/>
                <a:gd name="connsiteY7" fmla="*/ 41171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985" h="28394">
                  <a:moveTo>
                    <a:pt x="15617" y="41171"/>
                  </a:moveTo>
                  <a:cubicBezTo>
                    <a:pt x="18456" y="41171"/>
                    <a:pt x="22715" y="41171"/>
                    <a:pt x="26974" y="39752"/>
                  </a:cubicBezTo>
                  <a:cubicBezTo>
                    <a:pt x="39752" y="36912"/>
                    <a:pt x="58208" y="28394"/>
                    <a:pt x="70985" y="1420"/>
                  </a:cubicBezTo>
                  <a:lnTo>
                    <a:pt x="68146" y="0"/>
                  </a:lnTo>
                  <a:cubicBezTo>
                    <a:pt x="58208" y="21296"/>
                    <a:pt x="44011" y="34073"/>
                    <a:pt x="25555" y="36912"/>
                  </a:cubicBezTo>
                  <a:cubicBezTo>
                    <a:pt x="12777" y="39752"/>
                    <a:pt x="1420" y="35493"/>
                    <a:pt x="1420" y="35493"/>
                  </a:cubicBezTo>
                  <a:lnTo>
                    <a:pt x="0" y="38332"/>
                  </a:lnTo>
                  <a:cubicBezTo>
                    <a:pt x="1420" y="39752"/>
                    <a:pt x="7099" y="41171"/>
                    <a:pt x="15617" y="41171"/>
                  </a:cubicBezTo>
                  <a:close/>
                </a:path>
              </a:pathLst>
            </a:custGeom>
            <a:solidFill>
              <a:srgbClr val="A7786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7" name="任意多边形: 形状 10186">
              <a:extLst>
                <a:ext uri="{FF2B5EF4-FFF2-40B4-BE49-F238E27FC236}">
                  <a16:creationId xmlns:a16="http://schemas.microsoft.com/office/drawing/2014/main" id="{9012245C-E836-4438-B9F4-5861DB1C9415}"/>
                </a:ext>
              </a:extLst>
            </p:cNvPr>
            <p:cNvSpPr/>
            <p:nvPr userDrawn="1"/>
          </p:nvSpPr>
          <p:spPr>
            <a:xfrm>
              <a:off x="5211563" y="4471480"/>
              <a:ext cx="312334" cy="141970"/>
            </a:xfrm>
            <a:custGeom>
              <a:avLst/>
              <a:gdLst>
                <a:gd name="connsiteX0" fmla="*/ 325445 w 312334"/>
                <a:gd name="connsiteY0" fmla="*/ 152153 h 141970"/>
                <a:gd name="connsiteX1" fmla="*/ 177796 w 312334"/>
                <a:gd name="connsiteY1" fmla="*/ 113821 h 141970"/>
                <a:gd name="connsiteX2" fmla="*/ 30147 w 312334"/>
                <a:gd name="connsiteY2" fmla="*/ 65551 h 141970"/>
                <a:gd name="connsiteX3" fmla="*/ 3172 w 312334"/>
                <a:gd name="connsiteY3" fmla="*/ 1664 h 141970"/>
                <a:gd name="connsiteX4" fmla="*/ 84095 w 312334"/>
                <a:gd name="connsiteY4" fmla="*/ 25799 h 141970"/>
                <a:gd name="connsiteX5" fmla="*/ 106811 w 312334"/>
                <a:gd name="connsiteY5" fmla="*/ 59872 h 141970"/>
                <a:gd name="connsiteX6" fmla="*/ 325445 w 312334"/>
                <a:gd name="connsiteY6" fmla="*/ 152153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334" h="141970">
                  <a:moveTo>
                    <a:pt x="325445" y="152153"/>
                  </a:moveTo>
                  <a:cubicBezTo>
                    <a:pt x="325445" y="152153"/>
                    <a:pt x="245942" y="139375"/>
                    <a:pt x="177796" y="113821"/>
                  </a:cubicBezTo>
                  <a:cubicBezTo>
                    <a:pt x="109650" y="88266"/>
                    <a:pt x="57121" y="84007"/>
                    <a:pt x="30147" y="65551"/>
                  </a:cubicBezTo>
                  <a:cubicBezTo>
                    <a:pt x="3172" y="47095"/>
                    <a:pt x="-5346" y="8763"/>
                    <a:pt x="3172" y="1664"/>
                  </a:cubicBezTo>
                  <a:cubicBezTo>
                    <a:pt x="13110" y="-5434"/>
                    <a:pt x="72738" y="11602"/>
                    <a:pt x="84095" y="25799"/>
                  </a:cubicBezTo>
                  <a:cubicBezTo>
                    <a:pt x="96873" y="39996"/>
                    <a:pt x="84095" y="49934"/>
                    <a:pt x="106811" y="59872"/>
                  </a:cubicBezTo>
                  <a:cubicBezTo>
                    <a:pt x="128106" y="68390"/>
                    <a:pt x="325445" y="152153"/>
                    <a:pt x="325445" y="152153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8" name="任意多边形: 形状 10187">
              <a:extLst>
                <a:ext uri="{FF2B5EF4-FFF2-40B4-BE49-F238E27FC236}">
                  <a16:creationId xmlns:a16="http://schemas.microsoft.com/office/drawing/2014/main" id="{4F02B259-B0C0-445E-82F1-ABF7D8C3AAD9}"/>
                </a:ext>
              </a:extLst>
            </p:cNvPr>
            <p:cNvSpPr/>
            <p:nvPr userDrawn="1"/>
          </p:nvSpPr>
          <p:spPr>
            <a:xfrm>
              <a:off x="5318373" y="4534192"/>
              <a:ext cx="212955" cy="85182"/>
            </a:xfrm>
            <a:custGeom>
              <a:avLst/>
              <a:gdLst>
                <a:gd name="connsiteX0" fmla="*/ 8518 w 212955"/>
                <a:gd name="connsiteY0" fmla="*/ 0 h 85182"/>
                <a:gd name="connsiteX1" fmla="*/ 0 w 212955"/>
                <a:gd name="connsiteY1" fmla="*/ 46850 h 85182"/>
                <a:gd name="connsiteX2" fmla="*/ 218634 w 212955"/>
                <a:gd name="connsiteY2" fmla="*/ 89441 h 85182"/>
                <a:gd name="connsiteX3" fmla="*/ 8518 w 212955"/>
                <a:gd name="connsiteY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55" h="85182">
                  <a:moveTo>
                    <a:pt x="8518" y="0"/>
                  </a:moveTo>
                  <a:cubicBezTo>
                    <a:pt x="8518" y="0"/>
                    <a:pt x="7099" y="31233"/>
                    <a:pt x="0" y="46850"/>
                  </a:cubicBezTo>
                  <a:cubicBezTo>
                    <a:pt x="0" y="46850"/>
                    <a:pt x="198758" y="89441"/>
                    <a:pt x="218634" y="89441"/>
                  </a:cubicBezTo>
                  <a:lnTo>
                    <a:pt x="8518" y="0"/>
                  </a:ln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9" name="任意多边形: 形状 10188">
              <a:extLst>
                <a:ext uri="{FF2B5EF4-FFF2-40B4-BE49-F238E27FC236}">
                  <a16:creationId xmlns:a16="http://schemas.microsoft.com/office/drawing/2014/main" id="{4D50C10C-86F2-4CE4-A43D-2CC559164BB7}"/>
                </a:ext>
              </a:extLst>
            </p:cNvPr>
            <p:cNvSpPr/>
            <p:nvPr userDrawn="1"/>
          </p:nvSpPr>
          <p:spPr>
            <a:xfrm>
              <a:off x="5525650" y="4911832"/>
              <a:ext cx="212955" cy="85182"/>
            </a:xfrm>
            <a:custGeom>
              <a:avLst/>
              <a:gdLst>
                <a:gd name="connsiteX0" fmla="*/ 0 w 212955"/>
                <a:gd name="connsiteY0" fmla="*/ 0 h 85182"/>
                <a:gd name="connsiteX1" fmla="*/ 150488 w 212955"/>
                <a:gd name="connsiteY1" fmla="*/ 93700 h 85182"/>
                <a:gd name="connsiteX2" fmla="*/ 215795 w 212955"/>
                <a:gd name="connsiteY2" fmla="*/ 93700 h 85182"/>
                <a:gd name="connsiteX3" fmla="*/ 0 w 212955"/>
                <a:gd name="connsiteY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55" h="85182">
                  <a:moveTo>
                    <a:pt x="0" y="0"/>
                  </a:moveTo>
                  <a:cubicBezTo>
                    <a:pt x="2839" y="2839"/>
                    <a:pt x="102219" y="78084"/>
                    <a:pt x="150488" y="93700"/>
                  </a:cubicBezTo>
                  <a:cubicBezTo>
                    <a:pt x="174623" y="93700"/>
                    <a:pt x="195919" y="93700"/>
                    <a:pt x="215795" y="93700"/>
                  </a:cubicBezTo>
                  <a:cubicBezTo>
                    <a:pt x="211536" y="93700"/>
                    <a:pt x="154747" y="80923"/>
                    <a:pt x="0" y="0"/>
                  </a:cubicBezTo>
                  <a:close/>
                </a:path>
              </a:pathLst>
            </a:custGeom>
            <a:solidFill>
              <a:srgbClr val="4D392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0" name="任意多边形: 形状 10189">
              <a:extLst>
                <a:ext uri="{FF2B5EF4-FFF2-40B4-BE49-F238E27FC236}">
                  <a16:creationId xmlns:a16="http://schemas.microsoft.com/office/drawing/2014/main" id="{B3753DFA-148D-47AA-BD5C-168087570B67}"/>
                </a:ext>
              </a:extLst>
            </p:cNvPr>
            <p:cNvSpPr/>
            <p:nvPr userDrawn="1"/>
          </p:nvSpPr>
          <p:spPr>
            <a:xfrm>
              <a:off x="7483575" y="5414407"/>
              <a:ext cx="212955" cy="184561"/>
            </a:xfrm>
            <a:custGeom>
              <a:avLst/>
              <a:gdLst>
                <a:gd name="connsiteX0" fmla="*/ 141970 w 212955"/>
                <a:gd name="connsiteY0" fmla="*/ 191660 h 184561"/>
                <a:gd name="connsiteX1" fmla="*/ 0 w 212955"/>
                <a:gd name="connsiteY1" fmla="*/ 0 h 184561"/>
                <a:gd name="connsiteX2" fmla="*/ 167525 w 212955"/>
                <a:gd name="connsiteY2" fmla="*/ 146229 h 184561"/>
                <a:gd name="connsiteX3" fmla="*/ 188820 w 212955"/>
                <a:gd name="connsiteY3" fmla="*/ 0 h 184561"/>
                <a:gd name="connsiteX4" fmla="*/ 210116 w 212955"/>
                <a:gd name="connsiteY4" fmla="*/ 146229 h 184561"/>
                <a:gd name="connsiteX5" fmla="*/ 141970 w 212955"/>
                <a:gd name="connsiteY5" fmla="*/ 191660 h 18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955" h="184561">
                  <a:moveTo>
                    <a:pt x="141970" y="191660"/>
                  </a:moveTo>
                  <a:cubicBezTo>
                    <a:pt x="141970" y="191660"/>
                    <a:pt x="122094" y="85182"/>
                    <a:pt x="0" y="0"/>
                  </a:cubicBezTo>
                  <a:cubicBezTo>
                    <a:pt x="0" y="0"/>
                    <a:pt x="126353" y="5679"/>
                    <a:pt x="167525" y="146229"/>
                  </a:cubicBezTo>
                  <a:cubicBezTo>
                    <a:pt x="167525" y="146229"/>
                    <a:pt x="173204" y="72405"/>
                    <a:pt x="188820" y="0"/>
                  </a:cubicBezTo>
                  <a:cubicBezTo>
                    <a:pt x="188820" y="0"/>
                    <a:pt x="183141" y="73824"/>
                    <a:pt x="210116" y="146229"/>
                  </a:cubicBezTo>
                  <a:cubicBezTo>
                    <a:pt x="235670" y="217214"/>
                    <a:pt x="141970" y="191660"/>
                    <a:pt x="141970" y="191660"/>
                  </a:cubicBezTo>
                  <a:close/>
                </a:path>
              </a:pathLst>
            </a:custGeom>
            <a:solidFill>
              <a:srgbClr val="D5F7F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929389" y="2873441"/>
            <a:ext cx="4591100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930505" y="3768791"/>
            <a:ext cx="4591100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11B58C50-70E4-42A6-A667-2C9FE4933BD1}"/>
              </a:ext>
            </a:extLst>
          </p:cNvPr>
          <p:cNvGrpSpPr/>
          <p:nvPr userDrawn="1"/>
        </p:nvGrpSpPr>
        <p:grpSpPr>
          <a:xfrm flipH="1">
            <a:off x="0" y="2657929"/>
            <a:ext cx="4489381" cy="2137243"/>
            <a:chOff x="6474876" y="2925927"/>
            <a:chExt cx="3926438" cy="1869245"/>
          </a:xfrm>
        </p:grpSpPr>
        <p:sp>
          <p:nvSpPr>
            <p:cNvPr id="185" name="任意多边形: 形状 184">
              <a:extLst>
                <a:ext uri="{FF2B5EF4-FFF2-40B4-BE49-F238E27FC236}">
                  <a16:creationId xmlns:a16="http://schemas.microsoft.com/office/drawing/2014/main" id="{B6E26380-6920-4AF9-9C81-036AFEAB6DA1}"/>
                </a:ext>
              </a:extLst>
            </p:cNvPr>
            <p:cNvSpPr/>
            <p:nvPr userDrawn="1"/>
          </p:nvSpPr>
          <p:spPr>
            <a:xfrm>
              <a:off x="6474876" y="3803946"/>
              <a:ext cx="3926438" cy="991226"/>
            </a:xfrm>
            <a:custGeom>
              <a:avLst/>
              <a:gdLst>
                <a:gd name="connsiteX0" fmla="*/ 3294154 w 3926438"/>
                <a:gd name="connsiteY0" fmla="*/ 180 h 991226"/>
                <a:gd name="connsiteX1" fmla="*/ 3811285 w 3926438"/>
                <a:gd name="connsiteY1" fmla="*/ 1460 h 991226"/>
                <a:gd name="connsiteX2" fmla="*/ 3926438 w 3926438"/>
                <a:gd name="connsiteY2" fmla="*/ 3350 h 991226"/>
                <a:gd name="connsiteX3" fmla="*/ 3926438 w 3926438"/>
                <a:gd name="connsiteY3" fmla="*/ 858615 h 991226"/>
                <a:gd name="connsiteX4" fmla="*/ 3870387 w 3926438"/>
                <a:gd name="connsiteY4" fmla="*/ 850148 h 991226"/>
                <a:gd name="connsiteX5" fmla="*/ 2792531 w 3926438"/>
                <a:gd name="connsiteY5" fmla="*/ 798540 h 991226"/>
                <a:gd name="connsiteX6" fmla="*/ 1960224 w 3926438"/>
                <a:gd name="connsiteY6" fmla="*/ 908386 h 991226"/>
                <a:gd name="connsiteX7" fmla="*/ 865808 w 3926438"/>
                <a:gd name="connsiteY7" fmla="*/ 798540 h 991226"/>
                <a:gd name="connsiteX8" fmla="*/ 123629 w 3926438"/>
                <a:gd name="connsiteY8" fmla="*/ 515201 h 991226"/>
                <a:gd name="connsiteX9" fmla="*/ 38098 w 3926438"/>
                <a:gd name="connsiteY9" fmla="*/ 213381 h 991226"/>
                <a:gd name="connsiteX10" fmla="*/ 892478 w 3926438"/>
                <a:gd name="connsiteY10" fmla="*/ 45020 h 991226"/>
                <a:gd name="connsiteX11" fmla="*/ 3294154 w 3926438"/>
                <a:gd name="connsiteY11" fmla="*/ 180 h 991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26438" h="991226">
                  <a:moveTo>
                    <a:pt x="3294154" y="180"/>
                  </a:moveTo>
                  <a:cubicBezTo>
                    <a:pt x="3467230" y="-261"/>
                    <a:pt x="3640743" y="88"/>
                    <a:pt x="3811285" y="1460"/>
                  </a:cubicBezTo>
                  <a:lnTo>
                    <a:pt x="3926438" y="3350"/>
                  </a:lnTo>
                  <a:lnTo>
                    <a:pt x="3926438" y="858615"/>
                  </a:lnTo>
                  <a:lnTo>
                    <a:pt x="3870387" y="850148"/>
                  </a:lnTo>
                  <a:cubicBezTo>
                    <a:pt x="3566670" y="825151"/>
                    <a:pt x="3117637" y="908129"/>
                    <a:pt x="2792531" y="798540"/>
                  </a:cubicBezTo>
                  <a:cubicBezTo>
                    <a:pt x="2420982" y="673296"/>
                    <a:pt x="1985055" y="752344"/>
                    <a:pt x="1960224" y="908386"/>
                  </a:cubicBezTo>
                  <a:cubicBezTo>
                    <a:pt x="1935392" y="1064428"/>
                    <a:pt x="543921" y="984354"/>
                    <a:pt x="865808" y="798540"/>
                  </a:cubicBezTo>
                  <a:cubicBezTo>
                    <a:pt x="1187695" y="613753"/>
                    <a:pt x="417006" y="605540"/>
                    <a:pt x="123629" y="515201"/>
                  </a:cubicBezTo>
                  <a:cubicBezTo>
                    <a:pt x="-169749" y="424860"/>
                    <a:pt x="168693" y="379690"/>
                    <a:pt x="38098" y="213381"/>
                  </a:cubicBezTo>
                  <a:cubicBezTo>
                    <a:pt x="-92496" y="47074"/>
                    <a:pt x="892478" y="45020"/>
                    <a:pt x="892478" y="45020"/>
                  </a:cubicBezTo>
                  <a:cubicBezTo>
                    <a:pt x="892478" y="45020"/>
                    <a:pt x="2082619" y="3264"/>
                    <a:pt x="3294154" y="180"/>
                  </a:cubicBezTo>
                  <a:close/>
                </a:path>
              </a:pathLst>
            </a:custGeom>
            <a:solidFill>
              <a:schemeClr val="bg2"/>
            </a:solidFill>
            <a:ln w="1418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1E8AD406-786B-4A0C-A608-147D1DA556FA}"/>
                </a:ext>
              </a:extLst>
            </p:cNvPr>
            <p:cNvSpPr/>
            <p:nvPr userDrawn="1"/>
          </p:nvSpPr>
          <p:spPr>
            <a:xfrm>
              <a:off x="7099482" y="2936324"/>
              <a:ext cx="657020" cy="1098455"/>
            </a:xfrm>
            <a:custGeom>
              <a:avLst/>
              <a:gdLst>
                <a:gd name="connsiteX0" fmla="*/ 5679 w 908609"/>
                <a:gd name="connsiteY0" fmla="*/ 1527599 h 1519081"/>
                <a:gd name="connsiteX1" fmla="*/ 912868 w 908609"/>
                <a:gd name="connsiteY1" fmla="*/ 5679 h 1519081"/>
                <a:gd name="connsiteX2" fmla="*/ 910029 w 908609"/>
                <a:gd name="connsiteY2" fmla="*/ 0 h 1519081"/>
                <a:gd name="connsiteX3" fmla="*/ 0 w 908609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8609" h="1519081">
                  <a:moveTo>
                    <a:pt x="5679" y="1527599"/>
                  </a:moveTo>
                  <a:lnTo>
                    <a:pt x="912868" y="5679"/>
                  </a:lnTo>
                  <a:lnTo>
                    <a:pt x="910029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FC00C07F-4E89-478D-B9D9-7B8810E05739}"/>
                </a:ext>
              </a:extLst>
            </p:cNvPr>
            <p:cNvSpPr/>
            <p:nvPr userDrawn="1"/>
          </p:nvSpPr>
          <p:spPr>
            <a:xfrm>
              <a:off x="8019309" y="3262301"/>
              <a:ext cx="205318" cy="205318"/>
            </a:xfrm>
            <a:custGeom>
              <a:avLst/>
              <a:gdLst>
                <a:gd name="connsiteX0" fmla="*/ 14197 w 283940"/>
                <a:gd name="connsiteY0" fmla="*/ 295961 h 283940"/>
                <a:gd name="connsiteX1" fmla="*/ 93700 w 283940"/>
                <a:gd name="connsiteY1" fmla="*/ 195163 h 283940"/>
                <a:gd name="connsiteX2" fmla="*/ 203017 w 283940"/>
                <a:gd name="connsiteY2" fmla="*/ 36156 h 283940"/>
                <a:gd name="connsiteX3" fmla="*/ 295298 w 283940"/>
                <a:gd name="connsiteY3" fmla="*/ 6342 h 283940"/>
                <a:gd name="connsiteX4" fmla="*/ 295298 w 283940"/>
                <a:gd name="connsiteY4" fmla="*/ 663 h 283940"/>
                <a:gd name="connsiteX5" fmla="*/ 181722 w 283940"/>
                <a:gd name="connsiteY5" fmla="*/ 36156 h 283940"/>
                <a:gd name="connsiteX6" fmla="*/ 85182 w 283940"/>
                <a:gd name="connsiteY6" fmla="*/ 173867 h 283940"/>
                <a:gd name="connsiteX7" fmla="*/ 0 w 283940"/>
                <a:gd name="connsiteY7" fmla="*/ 224976 h 283940"/>
                <a:gd name="connsiteX8" fmla="*/ 14197 w 283940"/>
                <a:gd name="connsiteY8" fmla="*/ 295961 h 28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940" h="283940">
                  <a:moveTo>
                    <a:pt x="14197" y="295961"/>
                  </a:moveTo>
                  <a:cubicBezTo>
                    <a:pt x="14197" y="295961"/>
                    <a:pt x="29814" y="200841"/>
                    <a:pt x="93700" y="195163"/>
                  </a:cubicBezTo>
                  <a:cubicBezTo>
                    <a:pt x="156167" y="189484"/>
                    <a:pt x="161846" y="61711"/>
                    <a:pt x="203017" y="36156"/>
                  </a:cubicBezTo>
                  <a:cubicBezTo>
                    <a:pt x="242769" y="10601"/>
                    <a:pt x="295298" y="6342"/>
                    <a:pt x="295298" y="6342"/>
                  </a:cubicBezTo>
                  <a:lnTo>
                    <a:pt x="295298" y="663"/>
                  </a:lnTo>
                  <a:cubicBezTo>
                    <a:pt x="295298" y="663"/>
                    <a:pt x="224313" y="-7855"/>
                    <a:pt x="181722" y="36156"/>
                  </a:cubicBezTo>
                  <a:cubicBezTo>
                    <a:pt x="139131" y="80167"/>
                    <a:pt x="141970" y="168188"/>
                    <a:pt x="85182" y="173867"/>
                  </a:cubicBezTo>
                  <a:cubicBezTo>
                    <a:pt x="28394" y="180966"/>
                    <a:pt x="0" y="224976"/>
                    <a:pt x="0" y="224976"/>
                  </a:cubicBezTo>
                  <a:lnTo>
                    <a:pt x="14197" y="295961"/>
                  </a:lnTo>
                  <a:close/>
                </a:path>
              </a:pathLst>
            </a:custGeom>
            <a:solidFill>
              <a:srgbClr val="F0E1D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E20EFBE6-4D31-4068-A1CF-74327EC4C541}"/>
                </a:ext>
              </a:extLst>
            </p:cNvPr>
            <p:cNvSpPr/>
            <p:nvPr userDrawn="1"/>
          </p:nvSpPr>
          <p:spPr>
            <a:xfrm>
              <a:off x="7541380" y="3613538"/>
              <a:ext cx="821275" cy="307978"/>
            </a:xfrm>
            <a:custGeom>
              <a:avLst/>
              <a:gdLst>
                <a:gd name="connsiteX0" fmla="*/ 10716 w 1135761"/>
                <a:gd name="connsiteY0" fmla="*/ 426379 h 425910"/>
                <a:gd name="connsiteX1" fmla="*/ 66085 w 1135761"/>
                <a:gd name="connsiteY1" fmla="*/ 277310 h 425910"/>
                <a:gd name="connsiteX2" fmla="*/ 144168 w 1135761"/>
                <a:gd name="connsiteY2" fmla="*/ 78551 h 425910"/>
                <a:gd name="connsiteX3" fmla="*/ 277620 w 1135761"/>
                <a:gd name="connsiteY3" fmla="*/ 14665 h 425910"/>
                <a:gd name="connsiteX4" fmla="*/ 510451 w 1135761"/>
                <a:gd name="connsiteY4" fmla="*/ 142438 h 425910"/>
                <a:gd name="connsiteX5" fmla="*/ 683655 w 1135761"/>
                <a:gd name="connsiteY5" fmla="*/ 231879 h 425910"/>
                <a:gd name="connsiteX6" fmla="*/ 1145058 w 1135761"/>
                <a:gd name="connsiteY6" fmla="*/ 427798 h 425910"/>
                <a:gd name="connsiteX7" fmla="*/ 10716 w 1135761"/>
                <a:gd name="connsiteY7" fmla="*/ 427798 h 42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761" h="425910">
                  <a:moveTo>
                    <a:pt x="10716" y="426379"/>
                  </a:moveTo>
                  <a:cubicBezTo>
                    <a:pt x="10716" y="426379"/>
                    <a:pt x="-36134" y="335518"/>
                    <a:pt x="66085" y="277310"/>
                  </a:cubicBezTo>
                  <a:cubicBezTo>
                    <a:pt x="66085" y="277310"/>
                    <a:pt x="-10579" y="104106"/>
                    <a:pt x="144168" y="78551"/>
                  </a:cubicBezTo>
                  <a:cubicBezTo>
                    <a:pt x="144168" y="78551"/>
                    <a:pt x="222252" y="-40704"/>
                    <a:pt x="277620" y="14665"/>
                  </a:cubicBezTo>
                  <a:cubicBezTo>
                    <a:pt x="277620" y="14665"/>
                    <a:pt x="487736" y="-10890"/>
                    <a:pt x="510451" y="142438"/>
                  </a:cubicBezTo>
                  <a:cubicBezTo>
                    <a:pt x="510451" y="142438"/>
                    <a:pt x="683655" y="116883"/>
                    <a:pt x="683655" y="231879"/>
                  </a:cubicBezTo>
                  <a:cubicBezTo>
                    <a:pt x="683655" y="231879"/>
                    <a:pt x="1145058" y="236138"/>
                    <a:pt x="1145058" y="427798"/>
                  </a:cubicBezTo>
                  <a:lnTo>
                    <a:pt x="10716" y="427798"/>
                  </a:lnTo>
                  <a:close/>
                </a:path>
              </a:pathLst>
            </a:custGeom>
            <a:solidFill>
              <a:srgbClr val="EDDCC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6430123D-D620-4A5E-9A07-4D5CAA931EA1}"/>
                </a:ext>
              </a:extLst>
            </p:cNvPr>
            <p:cNvSpPr/>
            <p:nvPr userDrawn="1"/>
          </p:nvSpPr>
          <p:spPr>
            <a:xfrm>
              <a:off x="8633212" y="2939404"/>
              <a:ext cx="964998" cy="1067657"/>
            </a:xfrm>
            <a:custGeom>
              <a:avLst/>
              <a:gdLst>
                <a:gd name="connsiteX0" fmla="*/ 668680 w 1334519"/>
                <a:gd name="connsiteY0" fmla="*/ 0 h 1476490"/>
                <a:gd name="connsiteX1" fmla="*/ 1337359 w 1334519"/>
                <a:gd name="connsiteY1" fmla="*/ 1485008 h 1476490"/>
                <a:gd name="connsiteX2" fmla="*/ 668680 w 1334519"/>
                <a:gd name="connsiteY2" fmla="*/ 1485008 h 1476490"/>
                <a:gd name="connsiteX3" fmla="*/ 0 w 1334519"/>
                <a:gd name="connsiteY3" fmla="*/ 1485008 h 1476490"/>
                <a:gd name="connsiteX4" fmla="*/ 522450 w 1334519"/>
                <a:gd name="connsiteY4" fmla="*/ 298137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4519" h="1476490">
                  <a:moveTo>
                    <a:pt x="668680" y="0"/>
                  </a:moveTo>
                  <a:lnTo>
                    <a:pt x="1337359" y="1485008"/>
                  </a:lnTo>
                  <a:lnTo>
                    <a:pt x="668680" y="1485008"/>
                  </a:lnTo>
                  <a:lnTo>
                    <a:pt x="0" y="1485008"/>
                  </a:lnTo>
                  <a:lnTo>
                    <a:pt x="522450" y="298137"/>
                  </a:lnTo>
                  <a:close/>
                </a:path>
              </a:pathLst>
            </a:custGeom>
            <a:solidFill>
              <a:srgbClr val="01ACE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BE9EB2D5-1706-4CF2-B42C-53FD6DC1335D}"/>
                </a:ext>
              </a:extLst>
            </p:cNvPr>
            <p:cNvSpPr/>
            <p:nvPr userDrawn="1"/>
          </p:nvSpPr>
          <p:spPr>
            <a:xfrm>
              <a:off x="8881647" y="2939404"/>
              <a:ext cx="379840" cy="1067657"/>
            </a:xfrm>
            <a:custGeom>
              <a:avLst/>
              <a:gdLst>
                <a:gd name="connsiteX0" fmla="*/ 0 w 525289"/>
                <a:gd name="connsiteY0" fmla="*/ 1485008 h 1476490"/>
                <a:gd name="connsiteX1" fmla="*/ 325112 w 525289"/>
                <a:gd name="connsiteY1" fmla="*/ 0 h 1476490"/>
                <a:gd name="connsiteX2" fmla="*/ 532388 w 525289"/>
                <a:gd name="connsiteY2" fmla="*/ 148500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5289" h="1476490">
                  <a:moveTo>
                    <a:pt x="0" y="1485008"/>
                  </a:moveTo>
                  <a:lnTo>
                    <a:pt x="325112" y="0"/>
                  </a:lnTo>
                  <a:lnTo>
                    <a:pt x="532388" y="1485008"/>
                  </a:lnTo>
                  <a:close/>
                </a:path>
              </a:pathLst>
            </a:custGeom>
            <a:solidFill>
              <a:srgbClr val="01789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6DBFE9F4-C75C-4280-80CB-0069665FA8C5}"/>
                </a:ext>
              </a:extLst>
            </p:cNvPr>
            <p:cNvSpPr/>
            <p:nvPr userDrawn="1"/>
          </p:nvSpPr>
          <p:spPr>
            <a:xfrm>
              <a:off x="7274002" y="2936324"/>
              <a:ext cx="1837603" cy="1067657"/>
            </a:xfrm>
            <a:custGeom>
              <a:avLst/>
              <a:gdLst>
                <a:gd name="connsiteX0" fmla="*/ 668680 w 2541266"/>
                <a:gd name="connsiteY0" fmla="*/ 0 h 1476490"/>
                <a:gd name="connsiteX1" fmla="*/ 2548365 w 2541266"/>
                <a:gd name="connsiteY1" fmla="*/ 0 h 1476490"/>
                <a:gd name="connsiteX2" fmla="*/ 1879685 w 2541266"/>
                <a:gd name="connsiteY2" fmla="*/ 1489268 h 1476490"/>
                <a:gd name="connsiteX3" fmla="*/ 0 w 2541266"/>
                <a:gd name="connsiteY3" fmla="*/ 148926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1266" h="1476490">
                  <a:moveTo>
                    <a:pt x="668680" y="0"/>
                  </a:moveTo>
                  <a:lnTo>
                    <a:pt x="2548365" y="0"/>
                  </a:lnTo>
                  <a:lnTo>
                    <a:pt x="1879685" y="1489268"/>
                  </a:lnTo>
                  <a:lnTo>
                    <a:pt x="0" y="1489268"/>
                  </a:lnTo>
                  <a:close/>
                </a:path>
              </a:pathLst>
            </a:custGeom>
            <a:solidFill>
              <a:srgbClr val="44D2F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4032314-CE39-4345-B477-F29771244E2B}"/>
                </a:ext>
              </a:extLst>
            </p:cNvPr>
            <p:cNvSpPr/>
            <p:nvPr userDrawn="1"/>
          </p:nvSpPr>
          <p:spPr>
            <a:xfrm>
              <a:off x="8488463" y="2936324"/>
              <a:ext cx="626222" cy="1098455"/>
            </a:xfrm>
            <a:custGeom>
              <a:avLst/>
              <a:gdLst>
                <a:gd name="connsiteX0" fmla="*/ 4259 w 866018"/>
                <a:gd name="connsiteY0" fmla="*/ 1527599 h 1519081"/>
                <a:gd name="connsiteX1" fmla="*/ 871697 w 866018"/>
                <a:gd name="connsiteY1" fmla="*/ 5679 h 1519081"/>
                <a:gd name="connsiteX2" fmla="*/ 868857 w 866018"/>
                <a:gd name="connsiteY2" fmla="*/ 0 h 1519081"/>
                <a:gd name="connsiteX3" fmla="*/ 0 w 866018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6018" h="1519081">
                  <a:moveTo>
                    <a:pt x="4259" y="1527599"/>
                  </a:moveTo>
                  <a:lnTo>
                    <a:pt x="871697" y="5679"/>
                  </a:lnTo>
                  <a:lnTo>
                    <a:pt x="868857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B258D5F4-633F-4C1A-84A7-B701846BC81D}"/>
                </a:ext>
              </a:extLst>
            </p:cNvPr>
            <p:cNvSpPr/>
            <p:nvPr userDrawn="1"/>
          </p:nvSpPr>
          <p:spPr>
            <a:xfrm>
              <a:off x="9114685" y="2936324"/>
              <a:ext cx="718615" cy="1077923"/>
            </a:xfrm>
            <a:custGeom>
              <a:avLst/>
              <a:gdLst>
                <a:gd name="connsiteX0" fmla="*/ 988113 w 993791"/>
                <a:gd name="connsiteY0" fmla="*/ 1494946 h 1490687"/>
                <a:gd name="connsiteX1" fmla="*/ 993791 w 993791"/>
                <a:gd name="connsiteY1" fmla="*/ 1490687 h 1490687"/>
                <a:gd name="connsiteX2" fmla="*/ 2839 w 993791"/>
                <a:gd name="connsiteY2" fmla="*/ 0 h 1490687"/>
                <a:gd name="connsiteX3" fmla="*/ 0 w 993791"/>
                <a:gd name="connsiteY3" fmla="*/ 5679 h 149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3791" h="1490687">
                  <a:moveTo>
                    <a:pt x="988113" y="1494946"/>
                  </a:moveTo>
                  <a:lnTo>
                    <a:pt x="993791" y="1490687"/>
                  </a:lnTo>
                  <a:lnTo>
                    <a:pt x="2839" y="0"/>
                  </a:lnTo>
                  <a:lnTo>
                    <a:pt x="0" y="5679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534B3664-3BE2-40D8-B2A2-960EB9301029}"/>
                </a:ext>
              </a:extLst>
            </p:cNvPr>
            <p:cNvSpPr/>
            <p:nvPr userDrawn="1"/>
          </p:nvSpPr>
          <p:spPr>
            <a:xfrm>
              <a:off x="8484801" y="3925210"/>
              <a:ext cx="10266" cy="112925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3954A571-3A37-44E9-9834-A8FDA5CBCFCF}"/>
                </a:ext>
              </a:extLst>
            </p:cNvPr>
            <p:cNvSpPr/>
            <p:nvPr userDrawn="1"/>
          </p:nvSpPr>
          <p:spPr>
            <a:xfrm>
              <a:off x="7097293" y="3926300"/>
              <a:ext cx="10266" cy="112925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BCD0001E-ABFC-4011-84A3-C6FF0B777A7D}"/>
                </a:ext>
              </a:extLst>
            </p:cNvPr>
            <p:cNvSpPr/>
            <p:nvPr userDrawn="1"/>
          </p:nvSpPr>
          <p:spPr>
            <a:xfrm>
              <a:off x="8786691" y="3922880"/>
              <a:ext cx="71861" cy="102659"/>
            </a:xfrm>
            <a:custGeom>
              <a:avLst/>
              <a:gdLst>
                <a:gd name="connsiteX0" fmla="*/ 3545 w 99379"/>
                <a:gd name="connsiteY0" fmla="*/ 123514 h 141970"/>
                <a:gd name="connsiteX1" fmla="*/ 23421 w 99379"/>
                <a:gd name="connsiteY1" fmla="*/ 0 h 141970"/>
                <a:gd name="connsiteX2" fmla="*/ 23421 w 99379"/>
                <a:gd name="connsiteY2" fmla="*/ 97959 h 141970"/>
                <a:gd name="connsiteX3" fmla="*/ 48976 w 99379"/>
                <a:gd name="connsiteY3" fmla="*/ 62467 h 141970"/>
                <a:gd name="connsiteX4" fmla="*/ 39038 w 99379"/>
                <a:gd name="connsiteY4" fmla="*/ 124934 h 141970"/>
                <a:gd name="connsiteX5" fmla="*/ 97246 w 99379"/>
                <a:gd name="connsiteY5" fmla="*/ 7099 h 141970"/>
                <a:gd name="connsiteX6" fmla="*/ 50395 w 99379"/>
                <a:gd name="connsiteY6" fmla="*/ 144810 h 141970"/>
                <a:gd name="connsiteX7" fmla="*/ 3545 w 99379"/>
                <a:gd name="connsiteY7" fmla="*/ 123514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379" h="141970">
                  <a:moveTo>
                    <a:pt x="3545" y="123514"/>
                  </a:moveTo>
                  <a:cubicBezTo>
                    <a:pt x="3545" y="123514"/>
                    <a:pt x="-12071" y="66726"/>
                    <a:pt x="23421" y="0"/>
                  </a:cubicBezTo>
                  <a:cubicBezTo>
                    <a:pt x="23421" y="0"/>
                    <a:pt x="4965" y="59627"/>
                    <a:pt x="23421" y="97959"/>
                  </a:cubicBezTo>
                  <a:cubicBezTo>
                    <a:pt x="23421" y="97959"/>
                    <a:pt x="36198" y="105058"/>
                    <a:pt x="48976" y="62467"/>
                  </a:cubicBezTo>
                  <a:cubicBezTo>
                    <a:pt x="48976" y="62467"/>
                    <a:pt x="50395" y="105058"/>
                    <a:pt x="39038" y="124934"/>
                  </a:cubicBezTo>
                  <a:cubicBezTo>
                    <a:pt x="27680" y="144810"/>
                    <a:pt x="95826" y="100799"/>
                    <a:pt x="97246" y="7099"/>
                  </a:cubicBezTo>
                  <a:cubicBezTo>
                    <a:pt x="97246" y="7099"/>
                    <a:pt x="115702" y="117835"/>
                    <a:pt x="50395" y="144810"/>
                  </a:cubicBezTo>
                  <a:cubicBezTo>
                    <a:pt x="-19170" y="171784"/>
                    <a:pt x="3545" y="123514"/>
                    <a:pt x="3545" y="123514"/>
                  </a:cubicBezTo>
                  <a:close/>
                </a:path>
              </a:pathLst>
            </a:custGeom>
            <a:solidFill>
              <a:schemeClr val="bg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7B62ED5D-61D7-4A4C-B4FC-44CFC351CF7E}"/>
                </a:ext>
              </a:extLst>
            </p:cNvPr>
            <p:cNvSpPr/>
            <p:nvPr userDrawn="1"/>
          </p:nvSpPr>
          <p:spPr>
            <a:xfrm>
              <a:off x="8128128" y="4500852"/>
              <a:ext cx="30798" cy="41064"/>
            </a:xfrm>
            <a:custGeom>
              <a:avLst/>
              <a:gdLst>
                <a:gd name="connsiteX0" fmla="*/ 0 w 42591"/>
                <a:gd name="connsiteY0" fmla="*/ 52529 h 56788"/>
                <a:gd name="connsiteX1" fmla="*/ 0 w 42591"/>
                <a:gd name="connsiteY1" fmla="*/ 4259 h 56788"/>
                <a:gd name="connsiteX2" fmla="*/ 48270 w 42591"/>
                <a:gd name="connsiteY2" fmla="*/ 0 h 56788"/>
                <a:gd name="connsiteX3" fmla="*/ 55368 w 42591"/>
                <a:gd name="connsiteY3" fmla="*/ 55368 h 56788"/>
                <a:gd name="connsiteX4" fmla="*/ 0 w 42591"/>
                <a:gd name="connsiteY4" fmla="*/ 52529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91" h="56788">
                  <a:moveTo>
                    <a:pt x="0" y="52529"/>
                  </a:moveTo>
                  <a:cubicBezTo>
                    <a:pt x="0" y="52529"/>
                    <a:pt x="0" y="9938"/>
                    <a:pt x="0" y="4259"/>
                  </a:cubicBezTo>
                  <a:cubicBezTo>
                    <a:pt x="0" y="0"/>
                    <a:pt x="48270" y="0"/>
                    <a:pt x="48270" y="0"/>
                  </a:cubicBezTo>
                  <a:cubicBezTo>
                    <a:pt x="48270" y="0"/>
                    <a:pt x="51109" y="46850"/>
                    <a:pt x="55368" y="55368"/>
                  </a:cubicBezTo>
                  <a:cubicBezTo>
                    <a:pt x="56788" y="65306"/>
                    <a:pt x="0" y="52529"/>
                    <a:pt x="0" y="52529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F29145B1-7797-4291-99BB-F1D8BCF39C81}"/>
                </a:ext>
              </a:extLst>
            </p:cNvPr>
            <p:cNvSpPr/>
            <p:nvPr userDrawn="1"/>
          </p:nvSpPr>
          <p:spPr>
            <a:xfrm>
              <a:off x="8064336" y="4528299"/>
              <a:ext cx="112925" cy="92393"/>
            </a:xfrm>
            <a:custGeom>
              <a:avLst/>
              <a:gdLst>
                <a:gd name="connsiteX0" fmla="*/ 122293 w 156167"/>
                <a:gd name="connsiteY0" fmla="*/ 11733 h 127773"/>
                <a:gd name="connsiteX1" fmla="*/ 89640 w 156167"/>
                <a:gd name="connsiteY1" fmla="*/ 3215 h 127773"/>
                <a:gd name="connsiteX2" fmla="*/ 75443 w 156167"/>
                <a:gd name="connsiteY2" fmla="*/ 15992 h 127773"/>
                <a:gd name="connsiteX3" fmla="*/ 34271 w 156167"/>
                <a:gd name="connsiteY3" fmla="*/ 74200 h 127773"/>
                <a:gd name="connsiteX4" fmla="*/ 199 w 156167"/>
                <a:gd name="connsiteY4" fmla="*/ 111112 h 127773"/>
                <a:gd name="connsiteX5" fmla="*/ 86800 w 156167"/>
                <a:gd name="connsiteY5" fmla="*/ 133827 h 127773"/>
                <a:gd name="connsiteX6" fmla="*/ 162045 w 156167"/>
                <a:gd name="connsiteY6" fmla="*/ 75620 h 127773"/>
                <a:gd name="connsiteX7" fmla="*/ 137910 w 156167"/>
                <a:gd name="connsiteY7" fmla="*/ 375 h 127773"/>
                <a:gd name="connsiteX8" fmla="*/ 122293 w 156167"/>
                <a:gd name="connsiteY8" fmla="*/ 11733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6167" h="127773">
                  <a:moveTo>
                    <a:pt x="122293" y="11733"/>
                  </a:moveTo>
                  <a:cubicBezTo>
                    <a:pt x="122293" y="11733"/>
                    <a:pt x="102417" y="3215"/>
                    <a:pt x="89640" y="3215"/>
                  </a:cubicBezTo>
                  <a:cubicBezTo>
                    <a:pt x="76863" y="3215"/>
                    <a:pt x="78282" y="11733"/>
                    <a:pt x="75443" y="15992"/>
                  </a:cubicBezTo>
                  <a:cubicBezTo>
                    <a:pt x="72603" y="20251"/>
                    <a:pt x="41370" y="67101"/>
                    <a:pt x="34271" y="74200"/>
                  </a:cubicBezTo>
                  <a:cubicBezTo>
                    <a:pt x="25753" y="82718"/>
                    <a:pt x="-2641" y="91236"/>
                    <a:pt x="199" y="111112"/>
                  </a:cubicBezTo>
                  <a:cubicBezTo>
                    <a:pt x="4458" y="132408"/>
                    <a:pt x="41370" y="139506"/>
                    <a:pt x="86800" y="133827"/>
                  </a:cubicBezTo>
                  <a:cubicBezTo>
                    <a:pt x="132231" y="128149"/>
                    <a:pt x="154946" y="85558"/>
                    <a:pt x="162045" y="75620"/>
                  </a:cubicBezTo>
                  <a:cubicBezTo>
                    <a:pt x="169143" y="65682"/>
                    <a:pt x="145008" y="4635"/>
                    <a:pt x="137910" y="375"/>
                  </a:cubicBezTo>
                  <a:cubicBezTo>
                    <a:pt x="130811" y="-2464"/>
                    <a:pt x="122293" y="11733"/>
                    <a:pt x="122293" y="11733"/>
                  </a:cubicBezTo>
                  <a:close/>
                </a:path>
              </a:pathLst>
            </a:custGeom>
            <a:solidFill>
              <a:srgbClr val="A1542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0616FFB5-4C94-4B3B-A454-1199474382D4}"/>
                </a:ext>
              </a:extLst>
            </p:cNvPr>
            <p:cNvSpPr/>
            <p:nvPr userDrawn="1"/>
          </p:nvSpPr>
          <p:spPr>
            <a:xfrm>
              <a:off x="7840682" y="4504959"/>
              <a:ext cx="41064" cy="41064"/>
            </a:xfrm>
            <a:custGeom>
              <a:avLst/>
              <a:gdLst>
                <a:gd name="connsiteX0" fmla="*/ 0 w 56788"/>
                <a:gd name="connsiteY0" fmla="*/ 39752 h 56788"/>
                <a:gd name="connsiteX1" fmla="*/ 11358 w 56788"/>
                <a:gd name="connsiteY1" fmla="*/ 0 h 56788"/>
                <a:gd name="connsiteX2" fmla="*/ 62467 w 56788"/>
                <a:gd name="connsiteY2" fmla="*/ 7099 h 56788"/>
                <a:gd name="connsiteX3" fmla="*/ 53949 w 56788"/>
                <a:gd name="connsiteY3" fmla="*/ 68146 h 56788"/>
                <a:gd name="connsiteX4" fmla="*/ 0 w 56788"/>
                <a:gd name="connsiteY4" fmla="*/ 39752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88" h="56788">
                  <a:moveTo>
                    <a:pt x="0" y="39752"/>
                  </a:moveTo>
                  <a:lnTo>
                    <a:pt x="11358" y="0"/>
                  </a:lnTo>
                  <a:lnTo>
                    <a:pt x="62467" y="7099"/>
                  </a:lnTo>
                  <a:cubicBezTo>
                    <a:pt x="62467" y="7099"/>
                    <a:pt x="51109" y="61047"/>
                    <a:pt x="53949" y="68146"/>
                  </a:cubicBezTo>
                  <a:cubicBezTo>
                    <a:pt x="55368" y="73824"/>
                    <a:pt x="0" y="39752"/>
                    <a:pt x="0" y="3975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3524160B-6216-40F3-BD61-34D0F83259F7}"/>
                </a:ext>
              </a:extLst>
            </p:cNvPr>
            <p:cNvSpPr/>
            <p:nvPr userDrawn="1"/>
          </p:nvSpPr>
          <p:spPr>
            <a:xfrm>
              <a:off x="7928969" y="3378786"/>
              <a:ext cx="112925" cy="472233"/>
            </a:xfrm>
            <a:custGeom>
              <a:avLst/>
              <a:gdLst>
                <a:gd name="connsiteX0" fmla="*/ 28394 w 156167"/>
                <a:gd name="connsiteY0" fmla="*/ 0 h 653062"/>
                <a:gd name="connsiteX1" fmla="*/ 15617 w 156167"/>
                <a:gd name="connsiteY1" fmla="*/ 288200 h 653062"/>
                <a:gd name="connsiteX2" fmla="*/ 0 w 156167"/>
                <a:gd name="connsiteY2" fmla="*/ 661581 h 653062"/>
                <a:gd name="connsiteX3" fmla="*/ 161846 w 156167"/>
                <a:gd name="connsiteY3" fmla="*/ 424491 h 653062"/>
                <a:gd name="connsiteX4" fmla="*/ 28394 w 156167"/>
                <a:gd name="connsiteY4" fmla="*/ 0 h 65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6167" h="653062">
                  <a:moveTo>
                    <a:pt x="28394" y="0"/>
                  </a:moveTo>
                  <a:cubicBezTo>
                    <a:pt x="28394" y="0"/>
                    <a:pt x="-1420" y="144810"/>
                    <a:pt x="15617" y="288200"/>
                  </a:cubicBezTo>
                  <a:cubicBezTo>
                    <a:pt x="32653" y="431589"/>
                    <a:pt x="0" y="661581"/>
                    <a:pt x="0" y="661581"/>
                  </a:cubicBezTo>
                  <a:lnTo>
                    <a:pt x="161846" y="424491"/>
                  </a:lnTo>
                  <a:lnTo>
                    <a:pt x="28394" y="0"/>
                  </a:ln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6F0C22E3-7487-4B2A-AC51-719065737815}"/>
                </a:ext>
              </a:extLst>
            </p:cNvPr>
            <p:cNvSpPr/>
            <p:nvPr userDrawn="1"/>
          </p:nvSpPr>
          <p:spPr>
            <a:xfrm>
              <a:off x="7830416" y="3691340"/>
              <a:ext cx="369574" cy="821275"/>
            </a:xfrm>
            <a:custGeom>
              <a:avLst/>
              <a:gdLst>
                <a:gd name="connsiteX0" fmla="*/ 187401 w 511092"/>
                <a:gd name="connsiteY0" fmla="*/ 132802 h 1135761"/>
                <a:gd name="connsiteX1" fmla="*/ 139131 w 511092"/>
                <a:gd name="connsiteY1" fmla="*/ 361374 h 1135761"/>
                <a:gd name="connsiteX2" fmla="*/ 102219 w 511092"/>
                <a:gd name="connsiteY2" fmla="*/ 666610 h 1135761"/>
                <a:gd name="connsiteX3" fmla="*/ 62467 w 511092"/>
                <a:gd name="connsiteY3" fmla="*/ 859689 h 1135761"/>
                <a:gd name="connsiteX4" fmla="*/ 0 w 511092"/>
                <a:gd name="connsiteY4" fmla="*/ 1140790 h 1135761"/>
                <a:gd name="connsiteX5" fmla="*/ 86602 w 511092"/>
                <a:gd name="connsiteY5" fmla="*/ 1142210 h 1135761"/>
                <a:gd name="connsiteX6" fmla="*/ 176043 w 511092"/>
                <a:gd name="connsiteY6" fmla="*/ 825617 h 1135761"/>
                <a:gd name="connsiteX7" fmla="*/ 238510 w 511092"/>
                <a:gd name="connsiteY7" fmla="*/ 589946 h 1135761"/>
                <a:gd name="connsiteX8" fmla="*/ 342148 w 511092"/>
                <a:gd name="connsiteY8" fmla="*/ 318783 h 1135761"/>
                <a:gd name="connsiteX9" fmla="*/ 347827 w 511092"/>
                <a:gd name="connsiteY9" fmla="*/ 364213 h 1135761"/>
                <a:gd name="connsiteX10" fmla="*/ 379060 w 511092"/>
                <a:gd name="connsiteY10" fmla="*/ 659511 h 1135761"/>
                <a:gd name="connsiteX11" fmla="*/ 384739 w 511092"/>
                <a:gd name="connsiteY11" fmla="*/ 845492 h 1135761"/>
                <a:gd name="connsiteX12" fmla="*/ 397517 w 511092"/>
                <a:gd name="connsiteY12" fmla="*/ 1135111 h 1135761"/>
                <a:gd name="connsiteX13" fmla="*/ 478440 w 511092"/>
                <a:gd name="connsiteY13" fmla="*/ 1126593 h 1135761"/>
                <a:gd name="connsiteX14" fmla="*/ 484118 w 511092"/>
                <a:gd name="connsiteY14" fmla="*/ 808580 h 1135761"/>
                <a:gd name="connsiteX15" fmla="*/ 488377 w 511092"/>
                <a:gd name="connsiteY15" fmla="*/ 633957 h 1135761"/>
                <a:gd name="connsiteX16" fmla="*/ 481279 w 511092"/>
                <a:gd name="connsiteY16" fmla="*/ 158356 h 1135761"/>
                <a:gd name="connsiteX17" fmla="*/ 187401 w 511092"/>
                <a:gd name="connsiteY17" fmla="*/ 132802 h 1135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11092" h="1135761">
                  <a:moveTo>
                    <a:pt x="187401" y="132802"/>
                  </a:moveTo>
                  <a:cubicBezTo>
                    <a:pt x="187401" y="132802"/>
                    <a:pt x="147649" y="314524"/>
                    <a:pt x="139131" y="361374"/>
                  </a:cubicBezTo>
                  <a:cubicBezTo>
                    <a:pt x="130613" y="406804"/>
                    <a:pt x="105058" y="629698"/>
                    <a:pt x="102219" y="666610"/>
                  </a:cubicBezTo>
                  <a:cubicBezTo>
                    <a:pt x="99379" y="704942"/>
                    <a:pt x="61047" y="846912"/>
                    <a:pt x="62467" y="859689"/>
                  </a:cubicBezTo>
                  <a:cubicBezTo>
                    <a:pt x="63887" y="873886"/>
                    <a:pt x="0" y="1140790"/>
                    <a:pt x="0" y="1140790"/>
                  </a:cubicBezTo>
                  <a:cubicBezTo>
                    <a:pt x="0" y="1140790"/>
                    <a:pt x="68146" y="1149308"/>
                    <a:pt x="86602" y="1142210"/>
                  </a:cubicBezTo>
                  <a:cubicBezTo>
                    <a:pt x="99379" y="1137951"/>
                    <a:pt x="176043" y="892342"/>
                    <a:pt x="176043" y="825617"/>
                  </a:cubicBezTo>
                  <a:cubicBezTo>
                    <a:pt x="176043" y="731916"/>
                    <a:pt x="231411" y="611241"/>
                    <a:pt x="238510" y="589946"/>
                  </a:cubicBezTo>
                  <a:cubicBezTo>
                    <a:pt x="316594" y="381250"/>
                    <a:pt x="330791" y="331560"/>
                    <a:pt x="342148" y="318783"/>
                  </a:cubicBezTo>
                  <a:cubicBezTo>
                    <a:pt x="342148" y="318783"/>
                    <a:pt x="343568" y="335819"/>
                    <a:pt x="347827" y="364213"/>
                  </a:cubicBezTo>
                  <a:cubicBezTo>
                    <a:pt x="352086" y="396866"/>
                    <a:pt x="370542" y="629698"/>
                    <a:pt x="379060" y="659511"/>
                  </a:cubicBezTo>
                  <a:cubicBezTo>
                    <a:pt x="387579" y="690745"/>
                    <a:pt x="380480" y="792963"/>
                    <a:pt x="384739" y="845492"/>
                  </a:cubicBezTo>
                  <a:cubicBezTo>
                    <a:pt x="388998" y="898021"/>
                    <a:pt x="397517" y="1135111"/>
                    <a:pt x="397517" y="1135111"/>
                  </a:cubicBezTo>
                  <a:cubicBezTo>
                    <a:pt x="397517" y="1135111"/>
                    <a:pt x="459983" y="1136531"/>
                    <a:pt x="478440" y="1126593"/>
                  </a:cubicBezTo>
                  <a:cubicBezTo>
                    <a:pt x="484118" y="1123754"/>
                    <a:pt x="484118" y="871047"/>
                    <a:pt x="484118" y="808580"/>
                  </a:cubicBezTo>
                  <a:cubicBezTo>
                    <a:pt x="485538" y="746113"/>
                    <a:pt x="485538" y="660931"/>
                    <a:pt x="488377" y="633957"/>
                  </a:cubicBezTo>
                  <a:cubicBezTo>
                    <a:pt x="505414" y="376991"/>
                    <a:pt x="546585" y="340078"/>
                    <a:pt x="481279" y="158356"/>
                  </a:cubicBezTo>
                  <a:cubicBezTo>
                    <a:pt x="359185" y="-182372"/>
                    <a:pt x="187401" y="132802"/>
                    <a:pt x="187401" y="132802"/>
                  </a:cubicBezTo>
                  <a:close/>
                </a:path>
              </a:pathLst>
            </a:custGeom>
            <a:solidFill>
              <a:schemeClr val="tx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513B4D03-5A6C-4882-9613-36F27E51D5B4}"/>
                </a:ext>
              </a:extLst>
            </p:cNvPr>
            <p:cNvSpPr/>
            <p:nvPr userDrawn="1"/>
          </p:nvSpPr>
          <p:spPr>
            <a:xfrm>
              <a:off x="7918643" y="3343015"/>
              <a:ext cx="266915" cy="472233"/>
            </a:xfrm>
            <a:custGeom>
              <a:avLst/>
              <a:gdLst>
                <a:gd name="connsiteX0" fmla="*/ 34156 w 369122"/>
                <a:gd name="connsiteY0" fmla="*/ 82120 h 653062"/>
                <a:gd name="connsiteX1" fmla="*/ 1503 w 369122"/>
                <a:gd name="connsiteY1" fmla="*/ 287977 h 653062"/>
                <a:gd name="connsiteX2" fmla="*/ 62550 w 369122"/>
                <a:gd name="connsiteY2" fmla="*/ 360382 h 653062"/>
                <a:gd name="connsiteX3" fmla="*/ 95204 w 369122"/>
                <a:gd name="connsiteY3" fmla="*/ 481057 h 653062"/>
                <a:gd name="connsiteX4" fmla="*/ 65390 w 369122"/>
                <a:gd name="connsiteY4" fmla="*/ 614509 h 653062"/>
                <a:gd name="connsiteX5" fmla="*/ 373465 w 369122"/>
                <a:gd name="connsiteY5" fmla="*/ 581856 h 653062"/>
                <a:gd name="connsiteX6" fmla="*/ 316677 w 369122"/>
                <a:gd name="connsiteY6" fmla="*/ 404393 h 653062"/>
                <a:gd name="connsiteX7" fmla="*/ 316677 w 369122"/>
                <a:gd name="connsiteY7" fmla="*/ 248226 h 653062"/>
                <a:gd name="connsiteX8" fmla="*/ 325195 w 369122"/>
                <a:gd name="connsiteY8" fmla="*/ 69343 h 653062"/>
                <a:gd name="connsiteX9" fmla="*/ 176127 w 369122"/>
                <a:gd name="connsiteY9" fmla="*/ 1197 h 653062"/>
                <a:gd name="connsiteX10" fmla="*/ 34156 w 369122"/>
                <a:gd name="connsiteY10" fmla="*/ 82120 h 653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9122" h="653062">
                  <a:moveTo>
                    <a:pt x="34156" y="82120"/>
                  </a:moveTo>
                  <a:cubicBezTo>
                    <a:pt x="34156" y="82120"/>
                    <a:pt x="-8435" y="253904"/>
                    <a:pt x="1503" y="287977"/>
                  </a:cubicBezTo>
                  <a:cubicBezTo>
                    <a:pt x="11441" y="322050"/>
                    <a:pt x="61131" y="356123"/>
                    <a:pt x="62550" y="360382"/>
                  </a:cubicBezTo>
                  <a:cubicBezTo>
                    <a:pt x="63970" y="364641"/>
                    <a:pt x="95204" y="464020"/>
                    <a:pt x="95204" y="481057"/>
                  </a:cubicBezTo>
                  <a:cubicBezTo>
                    <a:pt x="93784" y="498093"/>
                    <a:pt x="65390" y="614509"/>
                    <a:pt x="65390" y="614509"/>
                  </a:cubicBezTo>
                  <a:cubicBezTo>
                    <a:pt x="65390" y="614509"/>
                    <a:pt x="214458" y="722406"/>
                    <a:pt x="373465" y="581856"/>
                  </a:cubicBezTo>
                  <a:cubicBezTo>
                    <a:pt x="373465" y="581856"/>
                    <a:pt x="318097" y="420009"/>
                    <a:pt x="316677" y="404393"/>
                  </a:cubicBezTo>
                  <a:cubicBezTo>
                    <a:pt x="315257" y="387356"/>
                    <a:pt x="310998" y="263842"/>
                    <a:pt x="316677" y="248226"/>
                  </a:cubicBezTo>
                  <a:cubicBezTo>
                    <a:pt x="322356" y="232609"/>
                    <a:pt x="332294" y="83540"/>
                    <a:pt x="325195" y="69343"/>
                  </a:cubicBezTo>
                  <a:cubicBezTo>
                    <a:pt x="318097" y="55146"/>
                    <a:pt x="237174" y="13975"/>
                    <a:pt x="176127" y="1197"/>
                  </a:cubicBezTo>
                  <a:cubicBezTo>
                    <a:pt x="115079" y="-11580"/>
                    <a:pt x="34156" y="82120"/>
                    <a:pt x="34156" y="82120"/>
                  </a:cubicBezTo>
                  <a:close/>
                </a:path>
              </a:pathLst>
            </a:custGeom>
            <a:solidFill>
              <a:srgbClr val="FFF8F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F0E20C01-3332-437A-B480-982B81CA2EB6}"/>
                </a:ext>
              </a:extLst>
            </p:cNvPr>
            <p:cNvSpPr/>
            <p:nvPr userDrawn="1"/>
          </p:nvSpPr>
          <p:spPr>
            <a:xfrm>
              <a:off x="8048885" y="3345935"/>
              <a:ext cx="195052" cy="605690"/>
            </a:xfrm>
            <a:custGeom>
              <a:avLst/>
              <a:gdLst>
                <a:gd name="connsiteX0" fmla="*/ 245879 w 269743"/>
                <a:gd name="connsiteY0" fmla="*/ 848982 h 837624"/>
                <a:gd name="connsiteX1" fmla="*/ 176313 w 269743"/>
                <a:gd name="connsiteY1" fmla="*/ 667260 h 837624"/>
                <a:gd name="connsiteX2" fmla="*/ 149339 w 269743"/>
                <a:gd name="connsiteY2" fmla="*/ 609052 h 837624"/>
                <a:gd name="connsiteX3" fmla="*/ 128043 w 269743"/>
                <a:gd name="connsiteY3" fmla="*/ 563622 h 837624"/>
                <a:gd name="connsiteX4" fmla="*/ 17307 w 269743"/>
                <a:gd name="connsiteY4" fmla="*/ 303816 h 837624"/>
                <a:gd name="connsiteX5" fmla="*/ 18726 w 269743"/>
                <a:gd name="connsiteY5" fmla="*/ 0 h 837624"/>
                <a:gd name="connsiteX6" fmla="*/ 18726 w 269743"/>
                <a:gd name="connsiteY6" fmla="*/ 0 h 837624"/>
                <a:gd name="connsiteX7" fmla="*/ 143660 w 269743"/>
                <a:gd name="connsiteY7" fmla="*/ 53949 h 837624"/>
                <a:gd name="connsiteX8" fmla="*/ 143660 w 269743"/>
                <a:gd name="connsiteY8" fmla="*/ 53949 h 837624"/>
                <a:gd name="connsiteX9" fmla="*/ 145080 w 269743"/>
                <a:gd name="connsiteY9" fmla="*/ 56788 h 837624"/>
                <a:gd name="connsiteX10" fmla="*/ 180572 w 269743"/>
                <a:gd name="connsiteY10" fmla="*/ 140551 h 837624"/>
                <a:gd name="connsiteX11" fmla="*/ 143660 w 269743"/>
                <a:gd name="connsiteY11" fmla="*/ 191660 h 837624"/>
                <a:gd name="connsiteX12" fmla="*/ 132303 w 269743"/>
                <a:gd name="connsiteY12" fmla="*/ 238510 h 837624"/>
                <a:gd name="connsiteX13" fmla="*/ 133722 w 269743"/>
                <a:gd name="connsiteY13" fmla="*/ 259805 h 837624"/>
                <a:gd name="connsiteX14" fmla="*/ 135142 w 269743"/>
                <a:gd name="connsiteY14" fmla="*/ 266904 h 837624"/>
                <a:gd name="connsiteX15" fmla="*/ 176313 w 269743"/>
                <a:gd name="connsiteY15" fmla="*/ 396097 h 837624"/>
                <a:gd name="connsiteX16" fmla="*/ 179153 w 269743"/>
                <a:gd name="connsiteY16" fmla="*/ 414553 h 837624"/>
                <a:gd name="connsiteX17" fmla="*/ 179153 w 269743"/>
                <a:gd name="connsiteY17" fmla="*/ 414553 h 837624"/>
                <a:gd name="connsiteX18" fmla="*/ 179153 w 269743"/>
                <a:gd name="connsiteY18" fmla="*/ 414553 h 837624"/>
                <a:gd name="connsiteX19" fmla="*/ 193350 w 269743"/>
                <a:gd name="connsiteY19" fmla="*/ 458564 h 837624"/>
                <a:gd name="connsiteX20" fmla="*/ 196189 w 269743"/>
                <a:gd name="connsiteY20" fmla="*/ 464243 h 837624"/>
                <a:gd name="connsiteX21" fmla="*/ 196189 w 269743"/>
                <a:gd name="connsiteY21" fmla="*/ 464243 h 837624"/>
                <a:gd name="connsiteX22" fmla="*/ 234521 w 269743"/>
                <a:gd name="connsiteY22" fmla="*/ 549425 h 837624"/>
                <a:gd name="connsiteX23" fmla="*/ 282791 w 269743"/>
                <a:gd name="connsiteY23" fmla="*/ 685716 h 837624"/>
                <a:gd name="connsiteX24" fmla="*/ 245879 w 269743"/>
                <a:gd name="connsiteY24" fmla="*/ 848982 h 837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9743" h="837624">
                  <a:moveTo>
                    <a:pt x="245879" y="848982"/>
                  </a:moveTo>
                  <a:cubicBezTo>
                    <a:pt x="244459" y="819168"/>
                    <a:pt x="214645" y="749603"/>
                    <a:pt x="176313" y="667260"/>
                  </a:cubicBezTo>
                  <a:cubicBezTo>
                    <a:pt x="167795" y="648804"/>
                    <a:pt x="157857" y="628928"/>
                    <a:pt x="149339" y="609052"/>
                  </a:cubicBezTo>
                  <a:cubicBezTo>
                    <a:pt x="142241" y="593435"/>
                    <a:pt x="135142" y="579238"/>
                    <a:pt x="128043" y="563622"/>
                  </a:cubicBezTo>
                  <a:cubicBezTo>
                    <a:pt x="81193" y="464243"/>
                    <a:pt x="34343" y="364863"/>
                    <a:pt x="17307" y="303816"/>
                  </a:cubicBezTo>
                  <a:cubicBezTo>
                    <a:pt x="-22445" y="167525"/>
                    <a:pt x="18726" y="0"/>
                    <a:pt x="18726" y="0"/>
                  </a:cubicBezTo>
                  <a:cubicBezTo>
                    <a:pt x="18726" y="0"/>
                    <a:pt x="18726" y="0"/>
                    <a:pt x="18726" y="0"/>
                  </a:cubicBezTo>
                  <a:cubicBezTo>
                    <a:pt x="64157" y="8518"/>
                    <a:pt x="128043" y="34073"/>
                    <a:pt x="143660" y="53949"/>
                  </a:cubicBezTo>
                  <a:cubicBezTo>
                    <a:pt x="143660" y="53949"/>
                    <a:pt x="143660" y="53949"/>
                    <a:pt x="143660" y="53949"/>
                  </a:cubicBezTo>
                  <a:cubicBezTo>
                    <a:pt x="143660" y="55368"/>
                    <a:pt x="145080" y="55368"/>
                    <a:pt x="145080" y="56788"/>
                  </a:cubicBezTo>
                  <a:cubicBezTo>
                    <a:pt x="150759" y="66726"/>
                    <a:pt x="164956" y="109317"/>
                    <a:pt x="180572" y="140551"/>
                  </a:cubicBezTo>
                  <a:cubicBezTo>
                    <a:pt x="180572" y="140551"/>
                    <a:pt x="159277" y="156167"/>
                    <a:pt x="143660" y="191660"/>
                  </a:cubicBezTo>
                  <a:cubicBezTo>
                    <a:pt x="137981" y="205857"/>
                    <a:pt x="132303" y="222893"/>
                    <a:pt x="132303" y="238510"/>
                  </a:cubicBezTo>
                  <a:cubicBezTo>
                    <a:pt x="132303" y="245608"/>
                    <a:pt x="132303" y="252707"/>
                    <a:pt x="133722" y="259805"/>
                  </a:cubicBezTo>
                  <a:cubicBezTo>
                    <a:pt x="133722" y="262645"/>
                    <a:pt x="135142" y="264065"/>
                    <a:pt x="135142" y="266904"/>
                  </a:cubicBezTo>
                  <a:cubicBezTo>
                    <a:pt x="155018" y="327951"/>
                    <a:pt x="176313" y="396097"/>
                    <a:pt x="176313" y="396097"/>
                  </a:cubicBezTo>
                  <a:cubicBezTo>
                    <a:pt x="176313" y="401776"/>
                    <a:pt x="177733" y="408874"/>
                    <a:pt x="179153" y="414553"/>
                  </a:cubicBezTo>
                  <a:cubicBezTo>
                    <a:pt x="179153" y="414553"/>
                    <a:pt x="179153" y="414553"/>
                    <a:pt x="179153" y="414553"/>
                  </a:cubicBezTo>
                  <a:lnTo>
                    <a:pt x="179153" y="414553"/>
                  </a:lnTo>
                  <a:cubicBezTo>
                    <a:pt x="181992" y="428750"/>
                    <a:pt x="187671" y="442947"/>
                    <a:pt x="193350" y="458564"/>
                  </a:cubicBezTo>
                  <a:cubicBezTo>
                    <a:pt x="194769" y="459983"/>
                    <a:pt x="194769" y="462823"/>
                    <a:pt x="196189" y="464243"/>
                  </a:cubicBezTo>
                  <a:cubicBezTo>
                    <a:pt x="196189" y="464243"/>
                    <a:pt x="196189" y="464243"/>
                    <a:pt x="196189" y="464243"/>
                  </a:cubicBezTo>
                  <a:cubicBezTo>
                    <a:pt x="207547" y="491217"/>
                    <a:pt x="221744" y="519611"/>
                    <a:pt x="234521" y="549425"/>
                  </a:cubicBezTo>
                  <a:cubicBezTo>
                    <a:pt x="257236" y="597695"/>
                    <a:pt x="278532" y="645965"/>
                    <a:pt x="282791" y="685716"/>
                  </a:cubicBezTo>
                  <a:cubicBezTo>
                    <a:pt x="289889" y="777997"/>
                    <a:pt x="245879" y="848982"/>
                    <a:pt x="245879" y="848982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9D8BF4A5-1D16-4E17-BE55-68CA03F62CD5}"/>
                </a:ext>
              </a:extLst>
            </p:cNvPr>
            <p:cNvSpPr/>
            <p:nvPr userDrawn="1"/>
          </p:nvSpPr>
          <p:spPr>
            <a:xfrm>
              <a:off x="8121969" y="3505954"/>
              <a:ext cx="61596" cy="174521"/>
            </a:xfrm>
            <a:custGeom>
              <a:avLst/>
              <a:gdLst>
                <a:gd name="connsiteX0" fmla="*/ 93700 w 85182"/>
                <a:gd name="connsiteY0" fmla="*/ 245788 h 241349"/>
                <a:gd name="connsiteX1" fmla="*/ 0 w 85182"/>
                <a:gd name="connsiteY1" fmla="*/ 179 h 241349"/>
                <a:gd name="connsiteX2" fmla="*/ 29814 w 85182"/>
                <a:gd name="connsiteY2" fmla="*/ 18635 h 241349"/>
                <a:gd name="connsiteX3" fmla="*/ 76664 w 85182"/>
                <a:gd name="connsiteY3" fmla="*/ 196098 h 241349"/>
                <a:gd name="connsiteX4" fmla="*/ 76664 w 85182"/>
                <a:gd name="connsiteY4" fmla="*/ 196098 h 241349"/>
                <a:gd name="connsiteX5" fmla="*/ 76664 w 85182"/>
                <a:gd name="connsiteY5" fmla="*/ 196098 h 241349"/>
                <a:gd name="connsiteX6" fmla="*/ 90861 w 85182"/>
                <a:gd name="connsiteY6" fmla="*/ 240109 h 241349"/>
                <a:gd name="connsiteX7" fmla="*/ 93700 w 85182"/>
                <a:gd name="connsiteY7" fmla="*/ 245788 h 241349"/>
                <a:gd name="connsiteX8" fmla="*/ 93700 w 85182"/>
                <a:gd name="connsiteY8" fmla="*/ 245788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82" h="241349">
                  <a:moveTo>
                    <a:pt x="93700" y="245788"/>
                  </a:moveTo>
                  <a:cubicBezTo>
                    <a:pt x="53949" y="203196"/>
                    <a:pt x="0" y="179"/>
                    <a:pt x="0" y="179"/>
                  </a:cubicBezTo>
                  <a:cubicBezTo>
                    <a:pt x="11358" y="-1241"/>
                    <a:pt x="21296" y="5858"/>
                    <a:pt x="29814" y="18635"/>
                  </a:cubicBezTo>
                  <a:cubicBezTo>
                    <a:pt x="62467" y="65485"/>
                    <a:pt x="76664" y="190419"/>
                    <a:pt x="76664" y="196098"/>
                  </a:cubicBezTo>
                  <a:cubicBezTo>
                    <a:pt x="76664" y="196098"/>
                    <a:pt x="76664" y="196098"/>
                    <a:pt x="76664" y="196098"/>
                  </a:cubicBezTo>
                  <a:lnTo>
                    <a:pt x="76664" y="196098"/>
                  </a:lnTo>
                  <a:cubicBezTo>
                    <a:pt x="79503" y="210295"/>
                    <a:pt x="85182" y="224492"/>
                    <a:pt x="90861" y="240109"/>
                  </a:cubicBezTo>
                  <a:cubicBezTo>
                    <a:pt x="90861" y="241528"/>
                    <a:pt x="92281" y="242948"/>
                    <a:pt x="93700" y="245788"/>
                  </a:cubicBezTo>
                  <a:cubicBezTo>
                    <a:pt x="93700" y="245788"/>
                    <a:pt x="93700" y="245788"/>
                    <a:pt x="93700" y="245788"/>
                  </a:cubicBez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B06FBCD7-95F1-4F79-B3A4-74394546FCE1}"/>
                </a:ext>
              </a:extLst>
            </p:cNvPr>
            <p:cNvSpPr/>
            <p:nvPr userDrawn="1"/>
          </p:nvSpPr>
          <p:spPr>
            <a:xfrm>
              <a:off x="8322154" y="3679930"/>
              <a:ext cx="71861" cy="92393"/>
            </a:xfrm>
            <a:custGeom>
              <a:avLst/>
              <a:gdLst>
                <a:gd name="connsiteX0" fmla="*/ 18456 w 99379"/>
                <a:gd name="connsiteY0" fmla="*/ 46363 h 127773"/>
                <a:gd name="connsiteX1" fmla="*/ 51109 w 99379"/>
                <a:gd name="connsiteY1" fmla="*/ 43524 h 127773"/>
                <a:gd name="connsiteX2" fmla="*/ 75244 w 99379"/>
                <a:gd name="connsiteY2" fmla="*/ 15130 h 127773"/>
                <a:gd name="connsiteX3" fmla="*/ 92281 w 99379"/>
                <a:gd name="connsiteY3" fmla="*/ 2352 h 127773"/>
                <a:gd name="connsiteX4" fmla="*/ 75244 w 99379"/>
                <a:gd name="connsiteY4" fmla="*/ 54881 h 127773"/>
                <a:gd name="connsiteX5" fmla="*/ 106478 w 99379"/>
                <a:gd name="connsiteY5" fmla="*/ 73337 h 127773"/>
                <a:gd name="connsiteX6" fmla="*/ 72405 w 99379"/>
                <a:gd name="connsiteY6" fmla="*/ 127286 h 127773"/>
                <a:gd name="connsiteX7" fmla="*/ 31234 w 99379"/>
                <a:gd name="connsiteY7" fmla="*/ 94633 h 127773"/>
                <a:gd name="connsiteX8" fmla="*/ 0 w 99379"/>
                <a:gd name="connsiteY8" fmla="*/ 81856 h 127773"/>
                <a:gd name="connsiteX9" fmla="*/ 18456 w 99379"/>
                <a:gd name="connsiteY9" fmla="*/ 46363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9379" h="127773">
                  <a:moveTo>
                    <a:pt x="18456" y="46363"/>
                  </a:moveTo>
                  <a:cubicBezTo>
                    <a:pt x="18456" y="46363"/>
                    <a:pt x="41171" y="54881"/>
                    <a:pt x="51109" y="43524"/>
                  </a:cubicBezTo>
                  <a:cubicBezTo>
                    <a:pt x="59628" y="35005"/>
                    <a:pt x="73825" y="19389"/>
                    <a:pt x="75244" y="15130"/>
                  </a:cubicBezTo>
                  <a:cubicBezTo>
                    <a:pt x="76664" y="10870"/>
                    <a:pt x="89441" y="-6166"/>
                    <a:pt x="92281" y="2352"/>
                  </a:cubicBezTo>
                  <a:cubicBezTo>
                    <a:pt x="95120" y="10870"/>
                    <a:pt x="80923" y="49202"/>
                    <a:pt x="75244" y="54881"/>
                  </a:cubicBezTo>
                  <a:cubicBezTo>
                    <a:pt x="69566" y="59140"/>
                    <a:pt x="102219" y="67659"/>
                    <a:pt x="106478" y="73337"/>
                  </a:cubicBezTo>
                  <a:cubicBezTo>
                    <a:pt x="110737" y="79016"/>
                    <a:pt x="93700" y="135804"/>
                    <a:pt x="72405" y="127286"/>
                  </a:cubicBezTo>
                  <a:cubicBezTo>
                    <a:pt x="51109" y="118768"/>
                    <a:pt x="34073" y="96053"/>
                    <a:pt x="31234" y="94633"/>
                  </a:cubicBezTo>
                  <a:cubicBezTo>
                    <a:pt x="25555" y="91794"/>
                    <a:pt x="0" y="81856"/>
                    <a:pt x="0" y="81856"/>
                  </a:cubicBezTo>
                  <a:lnTo>
                    <a:pt x="18456" y="46363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12CAC3AA-1893-4C77-86B3-875F4D6D04F9}"/>
                </a:ext>
              </a:extLst>
            </p:cNvPr>
            <p:cNvSpPr/>
            <p:nvPr userDrawn="1"/>
          </p:nvSpPr>
          <p:spPr>
            <a:xfrm>
              <a:off x="8375538" y="3730907"/>
              <a:ext cx="71861" cy="61596"/>
            </a:xfrm>
            <a:custGeom>
              <a:avLst/>
              <a:gdLst>
                <a:gd name="connsiteX0" fmla="*/ 26974 w 99379"/>
                <a:gd name="connsiteY0" fmla="*/ 0 h 85182"/>
                <a:gd name="connsiteX1" fmla="*/ 95120 w 99379"/>
                <a:gd name="connsiteY1" fmla="*/ 35493 h 85182"/>
                <a:gd name="connsiteX2" fmla="*/ 89441 w 99379"/>
                <a:gd name="connsiteY2" fmla="*/ 42591 h 85182"/>
                <a:gd name="connsiteX3" fmla="*/ 25554 w 99379"/>
                <a:gd name="connsiteY3" fmla="*/ 15617 h 85182"/>
                <a:gd name="connsiteX4" fmla="*/ 100799 w 99379"/>
                <a:gd name="connsiteY4" fmla="*/ 68146 h 85182"/>
                <a:gd name="connsiteX5" fmla="*/ 96540 w 99379"/>
                <a:gd name="connsiteY5" fmla="*/ 76664 h 85182"/>
                <a:gd name="connsiteX6" fmla="*/ 19876 w 99379"/>
                <a:gd name="connsiteY6" fmla="*/ 32653 h 85182"/>
                <a:gd name="connsiteX7" fmla="*/ 88021 w 99379"/>
                <a:gd name="connsiteY7" fmla="*/ 82343 h 85182"/>
                <a:gd name="connsiteX8" fmla="*/ 79503 w 99379"/>
                <a:gd name="connsiteY8" fmla="*/ 89441 h 85182"/>
                <a:gd name="connsiteX9" fmla="*/ 9938 w 99379"/>
                <a:gd name="connsiteY9" fmla="*/ 48270 h 85182"/>
                <a:gd name="connsiteX10" fmla="*/ 55368 w 99379"/>
                <a:gd name="connsiteY10" fmla="*/ 89441 h 85182"/>
                <a:gd name="connsiteX11" fmla="*/ 41171 w 99379"/>
                <a:gd name="connsiteY11" fmla="*/ 89441 h 85182"/>
                <a:gd name="connsiteX12" fmla="*/ 0 w 99379"/>
                <a:gd name="connsiteY12" fmla="*/ 59627 h 85182"/>
                <a:gd name="connsiteX13" fmla="*/ 26974 w 99379"/>
                <a:gd name="connsiteY1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9379" h="85182">
                  <a:moveTo>
                    <a:pt x="26974" y="0"/>
                  </a:moveTo>
                  <a:cubicBezTo>
                    <a:pt x="26974" y="0"/>
                    <a:pt x="92281" y="29814"/>
                    <a:pt x="95120" y="35493"/>
                  </a:cubicBezTo>
                  <a:cubicBezTo>
                    <a:pt x="97959" y="41171"/>
                    <a:pt x="96540" y="45430"/>
                    <a:pt x="89441" y="42591"/>
                  </a:cubicBezTo>
                  <a:cubicBezTo>
                    <a:pt x="83762" y="39752"/>
                    <a:pt x="25554" y="15617"/>
                    <a:pt x="25554" y="15617"/>
                  </a:cubicBezTo>
                  <a:cubicBezTo>
                    <a:pt x="25554" y="15617"/>
                    <a:pt x="96540" y="63887"/>
                    <a:pt x="100799" y="68146"/>
                  </a:cubicBezTo>
                  <a:cubicBezTo>
                    <a:pt x="102219" y="70985"/>
                    <a:pt x="99379" y="78084"/>
                    <a:pt x="96540" y="76664"/>
                  </a:cubicBezTo>
                  <a:cubicBezTo>
                    <a:pt x="93700" y="75244"/>
                    <a:pt x="19876" y="32653"/>
                    <a:pt x="19876" y="32653"/>
                  </a:cubicBezTo>
                  <a:cubicBezTo>
                    <a:pt x="19876" y="32653"/>
                    <a:pt x="86602" y="78084"/>
                    <a:pt x="88021" y="82343"/>
                  </a:cubicBezTo>
                  <a:cubicBezTo>
                    <a:pt x="89441" y="86602"/>
                    <a:pt x="85182" y="92281"/>
                    <a:pt x="79503" y="89441"/>
                  </a:cubicBezTo>
                  <a:cubicBezTo>
                    <a:pt x="73824" y="86602"/>
                    <a:pt x="9938" y="48270"/>
                    <a:pt x="9938" y="48270"/>
                  </a:cubicBezTo>
                  <a:cubicBezTo>
                    <a:pt x="9938" y="48270"/>
                    <a:pt x="55368" y="83762"/>
                    <a:pt x="55368" y="89441"/>
                  </a:cubicBezTo>
                  <a:cubicBezTo>
                    <a:pt x="55368" y="93700"/>
                    <a:pt x="52529" y="97959"/>
                    <a:pt x="41171" y="89441"/>
                  </a:cubicBezTo>
                  <a:cubicBezTo>
                    <a:pt x="29814" y="79503"/>
                    <a:pt x="0" y="59627"/>
                    <a:pt x="0" y="59627"/>
                  </a:cubicBezTo>
                  <a:lnTo>
                    <a:pt x="26974" y="0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20299BCE-5B21-4FF8-BFE9-7671CFF25D25}"/>
                </a:ext>
              </a:extLst>
            </p:cNvPr>
            <p:cNvSpPr/>
            <p:nvPr userDrawn="1"/>
          </p:nvSpPr>
          <p:spPr>
            <a:xfrm>
              <a:off x="8096303" y="3371213"/>
              <a:ext cx="246382" cy="369574"/>
            </a:xfrm>
            <a:custGeom>
              <a:avLst/>
              <a:gdLst>
                <a:gd name="connsiteX0" fmla="*/ 134872 w 340728"/>
                <a:gd name="connsiteY0" fmla="*/ 179417 h 511092"/>
                <a:gd name="connsiteX1" fmla="*/ 178883 w 340728"/>
                <a:gd name="connsiteY1" fmla="*/ 344102 h 511092"/>
                <a:gd name="connsiteX2" fmla="*/ 207277 w 340728"/>
                <a:gd name="connsiteY2" fmla="*/ 369657 h 511092"/>
                <a:gd name="connsiteX3" fmla="*/ 349247 w 340728"/>
                <a:gd name="connsiteY3" fmla="*/ 473295 h 511092"/>
                <a:gd name="connsiteX4" fmla="*/ 320853 w 340728"/>
                <a:gd name="connsiteY4" fmla="*/ 524404 h 511092"/>
                <a:gd name="connsiteX5" fmla="*/ 217214 w 340728"/>
                <a:gd name="connsiteY5" fmla="*/ 464777 h 511092"/>
                <a:gd name="connsiteX6" fmla="*/ 120675 w 340728"/>
                <a:gd name="connsiteY6" fmla="*/ 396631 h 511092"/>
                <a:gd name="connsiteX7" fmla="*/ 29814 w 340728"/>
                <a:gd name="connsiteY7" fmla="*/ 168059 h 511092"/>
                <a:gd name="connsiteX8" fmla="*/ 14197 w 340728"/>
                <a:gd name="connsiteY8" fmla="*/ 99914 h 511092"/>
                <a:gd name="connsiteX9" fmla="*/ 0 w 340728"/>
                <a:gd name="connsiteY9" fmla="*/ 18991 h 511092"/>
                <a:gd name="connsiteX10" fmla="*/ 0 w 340728"/>
                <a:gd name="connsiteY10" fmla="*/ 14731 h 511092"/>
                <a:gd name="connsiteX11" fmla="*/ 0 w 340728"/>
                <a:gd name="connsiteY11" fmla="*/ 14731 h 511092"/>
                <a:gd name="connsiteX12" fmla="*/ 73825 w 340728"/>
                <a:gd name="connsiteY12" fmla="*/ 16151 h 511092"/>
                <a:gd name="connsiteX13" fmla="*/ 134872 w 340728"/>
                <a:gd name="connsiteY13" fmla="*/ 179417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0728" h="511092">
                  <a:moveTo>
                    <a:pt x="134872" y="179417"/>
                  </a:moveTo>
                  <a:cubicBezTo>
                    <a:pt x="147649" y="241884"/>
                    <a:pt x="173204" y="332745"/>
                    <a:pt x="178883" y="344102"/>
                  </a:cubicBezTo>
                  <a:cubicBezTo>
                    <a:pt x="181722" y="349781"/>
                    <a:pt x="193080" y="358299"/>
                    <a:pt x="207277" y="369657"/>
                  </a:cubicBezTo>
                  <a:cubicBezTo>
                    <a:pt x="228572" y="388113"/>
                    <a:pt x="349247" y="473295"/>
                    <a:pt x="349247" y="473295"/>
                  </a:cubicBezTo>
                  <a:cubicBezTo>
                    <a:pt x="349247" y="494591"/>
                    <a:pt x="320853" y="524404"/>
                    <a:pt x="320853" y="524404"/>
                  </a:cubicBezTo>
                  <a:cubicBezTo>
                    <a:pt x="300977" y="511627"/>
                    <a:pt x="261225" y="488912"/>
                    <a:pt x="217214" y="464777"/>
                  </a:cubicBezTo>
                  <a:cubicBezTo>
                    <a:pt x="167525" y="437803"/>
                    <a:pt x="130613" y="410828"/>
                    <a:pt x="120675" y="396631"/>
                  </a:cubicBezTo>
                  <a:cubicBezTo>
                    <a:pt x="103638" y="369657"/>
                    <a:pt x="41171" y="207811"/>
                    <a:pt x="29814" y="168059"/>
                  </a:cubicBezTo>
                  <a:cubicBezTo>
                    <a:pt x="25555" y="152443"/>
                    <a:pt x="19876" y="125468"/>
                    <a:pt x="14197" y="99914"/>
                  </a:cubicBezTo>
                  <a:cubicBezTo>
                    <a:pt x="8518" y="65841"/>
                    <a:pt x="2840" y="30348"/>
                    <a:pt x="0" y="18991"/>
                  </a:cubicBezTo>
                  <a:cubicBezTo>
                    <a:pt x="0" y="16151"/>
                    <a:pt x="0" y="16151"/>
                    <a:pt x="0" y="14731"/>
                  </a:cubicBezTo>
                  <a:cubicBezTo>
                    <a:pt x="0" y="14731"/>
                    <a:pt x="0" y="14731"/>
                    <a:pt x="0" y="14731"/>
                  </a:cubicBezTo>
                  <a:cubicBezTo>
                    <a:pt x="0" y="14731"/>
                    <a:pt x="25555" y="-19341"/>
                    <a:pt x="73825" y="16151"/>
                  </a:cubicBezTo>
                  <a:cubicBezTo>
                    <a:pt x="73825" y="16151"/>
                    <a:pt x="107897" y="50224"/>
                    <a:pt x="134872" y="179417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BAE3DA38-5266-4C2C-BD62-4FB846F6B0DC}"/>
                </a:ext>
              </a:extLst>
            </p:cNvPr>
            <p:cNvSpPr/>
            <p:nvPr userDrawn="1"/>
          </p:nvSpPr>
          <p:spPr>
            <a:xfrm>
              <a:off x="8213336" y="4275002"/>
              <a:ext cx="92393" cy="82127"/>
            </a:xfrm>
            <a:custGeom>
              <a:avLst/>
              <a:gdLst>
                <a:gd name="connsiteX0" fmla="*/ 68146 w 127773"/>
                <a:gd name="connsiteY0" fmla="*/ 124934 h 113576"/>
                <a:gd name="connsiteX1" fmla="*/ 0 w 127773"/>
                <a:gd name="connsiteY1" fmla="*/ 62467 h 113576"/>
                <a:gd name="connsiteX2" fmla="*/ 68146 w 127773"/>
                <a:gd name="connsiteY2" fmla="*/ 0 h 113576"/>
                <a:gd name="connsiteX3" fmla="*/ 136291 w 127773"/>
                <a:gd name="connsiteY3" fmla="*/ 62467 h 113576"/>
                <a:gd name="connsiteX4" fmla="*/ 68146 w 127773"/>
                <a:gd name="connsiteY4" fmla="*/ 124934 h 113576"/>
                <a:gd name="connsiteX5" fmla="*/ 68146 w 127773"/>
                <a:gd name="connsiteY5" fmla="*/ 14197 h 113576"/>
                <a:gd name="connsiteX6" fmla="*/ 15617 w 127773"/>
                <a:gd name="connsiteY6" fmla="*/ 62467 h 113576"/>
                <a:gd name="connsiteX7" fmla="*/ 68146 w 127773"/>
                <a:gd name="connsiteY7" fmla="*/ 110737 h 113576"/>
                <a:gd name="connsiteX8" fmla="*/ 120675 w 127773"/>
                <a:gd name="connsiteY8" fmla="*/ 62467 h 113576"/>
                <a:gd name="connsiteX9" fmla="*/ 68146 w 127773"/>
                <a:gd name="connsiteY9" fmla="*/ 14197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7773" h="113576">
                  <a:moveTo>
                    <a:pt x="68146" y="124934"/>
                  </a:moveTo>
                  <a:cubicBezTo>
                    <a:pt x="31233" y="124934"/>
                    <a:pt x="0" y="96540"/>
                    <a:pt x="0" y="62467"/>
                  </a:cubicBezTo>
                  <a:cubicBezTo>
                    <a:pt x="0" y="28394"/>
                    <a:pt x="29814" y="0"/>
                    <a:pt x="68146" y="0"/>
                  </a:cubicBezTo>
                  <a:cubicBezTo>
                    <a:pt x="105058" y="0"/>
                    <a:pt x="136291" y="28394"/>
                    <a:pt x="136291" y="62467"/>
                  </a:cubicBezTo>
                  <a:cubicBezTo>
                    <a:pt x="136291" y="97959"/>
                    <a:pt x="105058" y="124934"/>
                    <a:pt x="68146" y="124934"/>
                  </a:cubicBezTo>
                  <a:close/>
                  <a:moveTo>
                    <a:pt x="68146" y="14197"/>
                  </a:moveTo>
                  <a:cubicBezTo>
                    <a:pt x="39752" y="14197"/>
                    <a:pt x="15617" y="35493"/>
                    <a:pt x="15617" y="62467"/>
                  </a:cubicBezTo>
                  <a:cubicBezTo>
                    <a:pt x="15617" y="89441"/>
                    <a:pt x="39752" y="110737"/>
                    <a:pt x="68146" y="110737"/>
                  </a:cubicBezTo>
                  <a:cubicBezTo>
                    <a:pt x="96540" y="110737"/>
                    <a:pt x="120675" y="89441"/>
                    <a:pt x="120675" y="62467"/>
                  </a:cubicBezTo>
                  <a:cubicBezTo>
                    <a:pt x="120675" y="35493"/>
                    <a:pt x="96540" y="14197"/>
                    <a:pt x="68146" y="14197"/>
                  </a:cubicBezTo>
                  <a:close/>
                </a:path>
              </a:pathLst>
            </a:custGeom>
            <a:solidFill>
              <a:srgbClr val="E8586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BAF8FA3E-52A5-4E0E-AE29-3C49289383F8}"/>
                </a:ext>
              </a:extLst>
            </p:cNvPr>
            <p:cNvSpPr/>
            <p:nvPr userDrawn="1"/>
          </p:nvSpPr>
          <p:spPr>
            <a:xfrm>
              <a:off x="8139421" y="4480321"/>
              <a:ext cx="236116" cy="112925"/>
            </a:xfrm>
            <a:custGeom>
              <a:avLst/>
              <a:gdLst>
                <a:gd name="connsiteX0" fmla="*/ 0 w 326531"/>
                <a:gd name="connsiteY0" fmla="*/ 0 h 156167"/>
                <a:gd name="connsiteX1" fmla="*/ 339309 w 326531"/>
                <a:gd name="connsiteY1" fmla="*/ 0 h 156167"/>
                <a:gd name="connsiteX2" fmla="*/ 339309 w 326531"/>
                <a:gd name="connsiteY2" fmla="*/ 168945 h 156167"/>
                <a:gd name="connsiteX3" fmla="*/ 0 w 326531"/>
                <a:gd name="connsiteY3" fmla="*/ 168945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531" h="156167">
                  <a:moveTo>
                    <a:pt x="0" y="0"/>
                  </a:moveTo>
                  <a:lnTo>
                    <a:pt x="339309" y="0"/>
                  </a:lnTo>
                  <a:lnTo>
                    <a:pt x="339309" y="168945"/>
                  </a:lnTo>
                  <a:lnTo>
                    <a:pt x="0" y="168945"/>
                  </a:lnTo>
                  <a:close/>
                </a:path>
              </a:pathLst>
            </a:custGeom>
            <a:solidFill>
              <a:srgbClr val="AD425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8D0BB133-6CAB-498D-A1B4-05C8817039E0}"/>
                </a:ext>
              </a:extLst>
            </p:cNvPr>
            <p:cNvSpPr/>
            <p:nvPr userDrawn="1"/>
          </p:nvSpPr>
          <p:spPr>
            <a:xfrm>
              <a:off x="8150257" y="4299635"/>
              <a:ext cx="225850" cy="318244"/>
            </a:xfrm>
            <a:custGeom>
              <a:avLst/>
              <a:gdLst>
                <a:gd name="connsiteX0" fmla="*/ 631 w 312334"/>
                <a:gd name="connsiteY0" fmla="*/ 451472 h 440107"/>
                <a:gd name="connsiteX1" fmla="*/ 631 w 312334"/>
                <a:gd name="connsiteY1" fmla="*/ 208702 h 440107"/>
                <a:gd name="connsiteX2" fmla="*/ 156798 w 312334"/>
                <a:gd name="connsiteY2" fmla="*/ 6 h 440107"/>
                <a:gd name="connsiteX3" fmla="*/ 312965 w 312334"/>
                <a:gd name="connsiteY3" fmla="*/ 208702 h 440107"/>
                <a:gd name="connsiteX4" fmla="*/ 312965 w 312334"/>
                <a:gd name="connsiteY4" fmla="*/ 451472 h 440107"/>
                <a:gd name="connsiteX5" fmla="*/ 631 w 312334"/>
                <a:gd name="connsiteY5" fmla="*/ 451472 h 440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334" h="440107">
                  <a:moveTo>
                    <a:pt x="631" y="451472"/>
                  </a:moveTo>
                  <a:cubicBezTo>
                    <a:pt x="631" y="451472"/>
                    <a:pt x="-789" y="413140"/>
                    <a:pt x="631" y="208702"/>
                  </a:cubicBezTo>
                  <a:cubicBezTo>
                    <a:pt x="2051" y="-4253"/>
                    <a:pt x="156798" y="6"/>
                    <a:pt x="156798" y="6"/>
                  </a:cubicBezTo>
                  <a:cubicBezTo>
                    <a:pt x="156798" y="6"/>
                    <a:pt x="311546" y="-2833"/>
                    <a:pt x="312965" y="208702"/>
                  </a:cubicBezTo>
                  <a:cubicBezTo>
                    <a:pt x="314385" y="413140"/>
                    <a:pt x="312965" y="451472"/>
                    <a:pt x="312965" y="451472"/>
                  </a:cubicBezTo>
                  <a:lnTo>
                    <a:pt x="631" y="451472"/>
                  </a:lnTo>
                  <a:close/>
                </a:path>
              </a:pathLst>
            </a:custGeom>
            <a:solidFill>
              <a:srgbClr val="F55D7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850C0D70-35D5-4A90-857E-6E2D29D474FF}"/>
                </a:ext>
              </a:extLst>
            </p:cNvPr>
            <p:cNvSpPr/>
            <p:nvPr userDrawn="1"/>
          </p:nvSpPr>
          <p:spPr>
            <a:xfrm>
              <a:off x="8176378" y="4480321"/>
              <a:ext cx="174521" cy="112925"/>
            </a:xfrm>
            <a:custGeom>
              <a:avLst/>
              <a:gdLst>
                <a:gd name="connsiteX0" fmla="*/ 0 w 241349"/>
                <a:gd name="connsiteY0" fmla="*/ 0 h 156167"/>
                <a:gd name="connsiteX1" fmla="*/ 241349 w 241349"/>
                <a:gd name="connsiteY1" fmla="*/ 0 h 156167"/>
                <a:gd name="connsiteX2" fmla="*/ 241349 w 241349"/>
                <a:gd name="connsiteY2" fmla="*/ 168945 h 156167"/>
                <a:gd name="connsiteX3" fmla="*/ 0 w 241349"/>
                <a:gd name="connsiteY3" fmla="*/ 168945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49" h="156167">
                  <a:moveTo>
                    <a:pt x="0" y="0"/>
                  </a:moveTo>
                  <a:lnTo>
                    <a:pt x="241349" y="0"/>
                  </a:lnTo>
                  <a:lnTo>
                    <a:pt x="241349" y="168945"/>
                  </a:lnTo>
                  <a:lnTo>
                    <a:pt x="0" y="168945"/>
                  </a:lnTo>
                  <a:close/>
                </a:path>
              </a:pathLst>
            </a:custGeom>
            <a:solidFill>
              <a:srgbClr val="FF617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D7F6C1AD-2973-469E-B278-4A93E5823DCE}"/>
                </a:ext>
              </a:extLst>
            </p:cNvPr>
            <p:cNvSpPr/>
            <p:nvPr userDrawn="1"/>
          </p:nvSpPr>
          <p:spPr>
            <a:xfrm>
              <a:off x="8176378" y="4480321"/>
              <a:ext cx="174521" cy="30798"/>
            </a:xfrm>
            <a:custGeom>
              <a:avLst/>
              <a:gdLst>
                <a:gd name="connsiteX0" fmla="*/ 0 w 241349"/>
                <a:gd name="connsiteY0" fmla="*/ 0 h 42591"/>
                <a:gd name="connsiteX1" fmla="*/ 241349 w 241349"/>
                <a:gd name="connsiteY1" fmla="*/ 0 h 42591"/>
                <a:gd name="connsiteX2" fmla="*/ 241349 w 241349"/>
                <a:gd name="connsiteY2" fmla="*/ 46850 h 42591"/>
                <a:gd name="connsiteX3" fmla="*/ 0 w 241349"/>
                <a:gd name="connsiteY3" fmla="*/ 4685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49" h="42591">
                  <a:moveTo>
                    <a:pt x="0" y="0"/>
                  </a:moveTo>
                  <a:lnTo>
                    <a:pt x="241349" y="0"/>
                  </a:lnTo>
                  <a:lnTo>
                    <a:pt x="241349" y="46850"/>
                  </a:lnTo>
                  <a:lnTo>
                    <a:pt x="0" y="46850"/>
                  </a:lnTo>
                  <a:close/>
                </a:path>
              </a:pathLst>
            </a:custGeom>
            <a:solidFill>
              <a:srgbClr val="C24A5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5E245622-8944-4B78-8176-BAC4B149B654}"/>
                </a:ext>
              </a:extLst>
            </p:cNvPr>
            <p:cNvSpPr/>
            <p:nvPr userDrawn="1"/>
          </p:nvSpPr>
          <p:spPr>
            <a:xfrm>
              <a:off x="7748187" y="4531036"/>
              <a:ext cx="153989" cy="92393"/>
            </a:xfrm>
            <a:custGeom>
              <a:avLst/>
              <a:gdLst>
                <a:gd name="connsiteX0" fmla="*/ 169084 w 212955"/>
                <a:gd name="connsiteY0" fmla="*/ 17886 h 127773"/>
                <a:gd name="connsiteX1" fmla="*/ 143530 w 212955"/>
                <a:gd name="connsiteY1" fmla="*/ 849 h 127773"/>
                <a:gd name="connsiteX2" fmla="*/ 123654 w 212955"/>
                <a:gd name="connsiteY2" fmla="*/ 3689 h 127773"/>
                <a:gd name="connsiteX3" fmla="*/ 103778 w 212955"/>
                <a:gd name="connsiteY3" fmla="*/ 29243 h 127773"/>
                <a:gd name="connsiteX4" fmla="*/ 48410 w 212955"/>
                <a:gd name="connsiteY4" fmla="*/ 76093 h 127773"/>
                <a:gd name="connsiteX5" fmla="*/ 140 w 212955"/>
                <a:gd name="connsiteY5" fmla="*/ 100228 h 127773"/>
                <a:gd name="connsiteX6" fmla="*/ 96680 w 212955"/>
                <a:gd name="connsiteY6" fmla="*/ 130042 h 127773"/>
                <a:gd name="connsiteX7" fmla="*/ 183282 w 212955"/>
                <a:gd name="connsiteY7" fmla="*/ 103068 h 127773"/>
                <a:gd name="connsiteX8" fmla="*/ 213095 w 212955"/>
                <a:gd name="connsiteY8" fmla="*/ 59057 h 127773"/>
                <a:gd name="connsiteX9" fmla="*/ 186121 w 212955"/>
                <a:gd name="connsiteY9" fmla="*/ 12207 h 127773"/>
                <a:gd name="connsiteX10" fmla="*/ 169084 w 212955"/>
                <a:gd name="connsiteY10" fmla="*/ 17886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2955" h="127773">
                  <a:moveTo>
                    <a:pt x="169084" y="17886"/>
                  </a:moveTo>
                  <a:cubicBezTo>
                    <a:pt x="169084" y="17886"/>
                    <a:pt x="152048" y="2269"/>
                    <a:pt x="143530" y="849"/>
                  </a:cubicBezTo>
                  <a:cubicBezTo>
                    <a:pt x="135012" y="-571"/>
                    <a:pt x="126493" y="-571"/>
                    <a:pt x="123654" y="3689"/>
                  </a:cubicBezTo>
                  <a:cubicBezTo>
                    <a:pt x="119395" y="7948"/>
                    <a:pt x="109457" y="23564"/>
                    <a:pt x="103778" y="29243"/>
                  </a:cubicBezTo>
                  <a:cubicBezTo>
                    <a:pt x="98099" y="34922"/>
                    <a:pt x="56928" y="73254"/>
                    <a:pt x="48410" y="76093"/>
                  </a:cubicBezTo>
                  <a:cubicBezTo>
                    <a:pt x="38472" y="78933"/>
                    <a:pt x="-2699" y="76093"/>
                    <a:pt x="140" y="100228"/>
                  </a:cubicBezTo>
                  <a:cubicBezTo>
                    <a:pt x="2979" y="124363"/>
                    <a:pt x="35633" y="134301"/>
                    <a:pt x="96680" y="130042"/>
                  </a:cubicBezTo>
                  <a:cubicBezTo>
                    <a:pt x="156307" y="124363"/>
                    <a:pt x="149209" y="110166"/>
                    <a:pt x="183282" y="103068"/>
                  </a:cubicBezTo>
                  <a:cubicBezTo>
                    <a:pt x="217354" y="95969"/>
                    <a:pt x="218774" y="78933"/>
                    <a:pt x="213095" y="59057"/>
                  </a:cubicBezTo>
                  <a:cubicBezTo>
                    <a:pt x="207417" y="39181"/>
                    <a:pt x="183282" y="17886"/>
                    <a:pt x="186121" y="12207"/>
                  </a:cubicBezTo>
                  <a:cubicBezTo>
                    <a:pt x="186121" y="6528"/>
                    <a:pt x="169084" y="17886"/>
                    <a:pt x="169084" y="17886"/>
                  </a:cubicBezTo>
                  <a:close/>
                </a:path>
              </a:pathLst>
            </a:custGeom>
            <a:solidFill>
              <a:srgbClr val="A1542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562448EE-F96C-4191-A37E-7D1348B14EE0}"/>
                </a:ext>
              </a:extLst>
            </p:cNvPr>
            <p:cNvSpPr/>
            <p:nvPr userDrawn="1"/>
          </p:nvSpPr>
          <p:spPr>
            <a:xfrm>
              <a:off x="7834522" y="3227876"/>
              <a:ext cx="92393" cy="102659"/>
            </a:xfrm>
            <a:custGeom>
              <a:avLst/>
              <a:gdLst>
                <a:gd name="connsiteX0" fmla="*/ 58208 w 127773"/>
                <a:gd name="connsiteY0" fmla="*/ 149069 h 141970"/>
                <a:gd name="connsiteX1" fmla="*/ 136291 w 127773"/>
                <a:gd name="connsiteY1" fmla="*/ 32653 h 141970"/>
                <a:gd name="connsiteX2" fmla="*/ 66726 w 127773"/>
                <a:gd name="connsiteY2" fmla="*/ 0 h 141970"/>
                <a:gd name="connsiteX3" fmla="*/ 0 w 127773"/>
                <a:gd name="connsiteY3" fmla="*/ 116416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773" h="141970">
                  <a:moveTo>
                    <a:pt x="58208" y="149069"/>
                  </a:moveTo>
                  <a:lnTo>
                    <a:pt x="136291" y="32653"/>
                  </a:lnTo>
                  <a:lnTo>
                    <a:pt x="66726" y="0"/>
                  </a:lnTo>
                  <a:lnTo>
                    <a:pt x="0" y="116416"/>
                  </a:lnTo>
                  <a:close/>
                </a:path>
              </a:pathLst>
            </a:custGeom>
            <a:solidFill>
              <a:srgbClr val="5157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AE6B7CD5-3B67-42C8-9207-16041745900C}"/>
                </a:ext>
              </a:extLst>
            </p:cNvPr>
            <p:cNvSpPr/>
            <p:nvPr userDrawn="1"/>
          </p:nvSpPr>
          <p:spPr>
            <a:xfrm>
              <a:off x="7839655" y="3235062"/>
              <a:ext cx="82127" cy="92393"/>
            </a:xfrm>
            <a:custGeom>
              <a:avLst/>
              <a:gdLst>
                <a:gd name="connsiteX0" fmla="*/ 51109 w 113576"/>
                <a:gd name="connsiteY0" fmla="*/ 129193 h 127773"/>
                <a:gd name="connsiteX1" fmla="*/ 119255 w 113576"/>
                <a:gd name="connsiteY1" fmla="*/ 28394 h 127773"/>
                <a:gd name="connsiteX2" fmla="*/ 58208 w 113576"/>
                <a:gd name="connsiteY2" fmla="*/ 0 h 127773"/>
                <a:gd name="connsiteX3" fmla="*/ 0 w 113576"/>
                <a:gd name="connsiteY3" fmla="*/ 100799 h 127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127773">
                  <a:moveTo>
                    <a:pt x="51109" y="129193"/>
                  </a:moveTo>
                  <a:lnTo>
                    <a:pt x="119255" y="28394"/>
                  </a:lnTo>
                  <a:lnTo>
                    <a:pt x="58208" y="0"/>
                  </a:lnTo>
                  <a:lnTo>
                    <a:pt x="0" y="100799"/>
                  </a:lnTo>
                  <a:close/>
                </a:path>
              </a:pathLst>
            </a:custGeom>
            <a:solidFill>
              <a:srgbClr val="D5CAE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CB25FC11-1BC8-4215-8562-E9511552A791}"/>
                </a:ext>
              </a:extLst>
            </p:cNvPr>
            <p:cNvSpPr/>
            <p:nvPr userDrawn="1"/>
          </p:nvSpPr>
          <p:spPr>
            <a:xfrm>
              <a:off x="7835136" y="3315137"/>
              <a:ext cx="41064" cy="41064"/>
            </a:xfrm>
            <a:custGeom>
              <a:avLst/>
              <a:gdLst>
                <a:gd name="connsiteX0" fmla="*/ 571 w 56788"/>
                <a:gd name="connsiteY0" fmla="*/ 44011 h 56788"/>
                <a:gd name="connsiteX1" fmla="*/ 6250 w 56788"/>
                <a:gd name="connsiteY1" fmla="*/ 21296 h 56788"/>
                <a:gd name="connsiteX2" fmla="*/ 3411 w 56788"/>
                <a:gd name="connsiteY2" fmla="*/ 0 h 56788"/>
                <a:gd name="connsiteX3" fmla="*/ 68717 w 56788"/>
                <a:gd name="connsiteY3" fmla="*/ 35493 h 56788"/>
                <a:gd name="connsiteX4" fmla="*/ 41742 w 56788"/>
                <a:gd name="connsiteY4" fmla="*/ 68146 h 56788"/>
                <a:gd name="connsiteX5" fmla="*/ 571 w 56788"/>
                <a:gd name="connsiteY5" fmla="*/ 44011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788" h="56788">
                  <a:moveTo>
                    <a:pt x="571" y="44011"/>
                  </a:moveTo>
                  <a:cubicBezTo>
                    <a:pt x="571" y="44011"/>
                    <a:pt x="14768" y="36912"/>
                    <a:pt x="6250" y="21296"/>
                  </a:cubicBezTo>
                  <a:cubicBezTo>
                    <a:pt x="-2268" y="5679"/>
                    <a:pt x="3411" y="0"/>
                    <a:pt x="3411" y="0"/>
                  </a:cubicBezTo>
                  <a:lnTo>
                    <a:pt x="68717" y="35493"/>
                  </a:lnTo>
                  <a:cubicBezTo>
                    <a:pt x="68717" y="35493"/>
                    <a:pt x="48841" y="65306"/>
                    <a:pt x="41742" y="68146"/>
                  </a:cubicBezTo>
                  <a:cubicBezTo>
                    <a:pt x="33224" y="69565"/>
                    <a:pt x="-5108" y="55368"/>
                    <a:pt x="571" y="44011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48196BB7-DD9A-4439-95A5-3BC4C952583D}"/>
                </a:ext>
              </a:extLst>
            </p:cNvPr>
            <p:cNvSpPr/>
            <p:nvPr userDrawn="1"/>
          </p:nvSpPr>
          <p:spPr>
            <a:xfrm>
              <a:off x="7865031" y="3292883"/>
              <a:ext cx="51330" cy="41064"/>
            </a:xfrm>
            <a:custGeom>
              <a:avLst/>
              <a:gdLst>
                <a:gd name="connsiteX0" fmla="*/ 27374 w 70985"/>
                <a:gd name="connsiteY0" fmla="*/ 64848 h 56788"/>
                <a:gd name="connsiteX1" fmla="*/ 57187 w 70985"/>
                <a:gd name="connsiteY1" fmla="*/ 33614 h 56788"/>
                <a:gd name="connsiteX2" fmla="*/ 74224 w 70985"/>
                <a:gd name="connsiteY2" fmla="*/ 3801 h 56788"/>
                <a:gd name="connsiteX3" fmla="*/ 50089 w 70985"/>
                <a:gd name="connsiteY3" fmla="*/ 12319 h 56788"/>
                <a:gd name="connsiteX4" fmla="*/ 35892 w 70985"/>
                <a:gd name="connsiteY4" fmla="*/ 29355 h 56788"/>
                <a:gd name="connsiteX5" fmla="*/ 399 w 70985"/>
                <a:gd name="connsiteY5" fmla="*/ 50651 h 56788"/>
                <a:gd name="connsiteX6" fmla="*/ 27374 w 70985"/>
                <a:gd name="connsiteY6" fmla="*/ 64848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985" h="56788">
                  <a:moveTo>
                    <a:pt x="27374" y="64848"/>
                  </a:moveTo>
                  <a:cubicBezTo>
                    <a:pt x="27374" y="64848"/>
                    <a:pt x="54348" y="37873"/>
                    <a:pt x="57187" y="33614"/>
                  </a:cubicBezTo>
                  <a:cubicBezTo>
                    <a:pt x="60027" y="29355"/>
                    <a:pt x="69965" y="13738"/>
                    <a:pt x="74224" y="3801"/>
                  </a:cubicBezTo>
                  <a:cubicBezTo>
                    <a:pt x="78483" y="-4718"/>
                    <a:pt x="55768" y="2381"/>
                    <a:pt x="50089" y="12319"/>
                  </a:cubicBezTo>
                  <a:cubicBezTo>
                    <a:pt x="45830" y="22257"/>
                    <a:pt x="40151" y="26516"/>
                    <a:pt x="35892" y="29355"/>
                  </a:cubicBezTo>
                  <a:cubicBezTo>
                    <a:pt x="31633" y="32195"/>
                    <a:pt x="3239" y="40713"/>
                    <a:pt x="399" y="50651"/>
                  </a:cubicBezTo>
                  <a:cubicBezTo>
                    <a:pt x="-3860" y="59169"/>
                    <a:pt x="27374" y="64848"/>
                    <a:pt x="27374" y="64848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99FF35B1-C83C-4530-BFF8-8012A03E9268}"/>
                </a:ext>
              </a:extLst>
            </p:cNvPr>
            <p:cNvSpPr/>
            <p:nvPr userDrawn="1"/>
          </p:nvSpPr>
          <p:spPr>
            <a:xfrm>
              <a:off x="7839214" y="3291935"/>
              <a:ext cx="10266" cy="10266"/>
            </a:xfrm>
            <a:custGeom>
              <a:avLst/>
              <a:gdLst>
                <a:gd name="connsiteX0" fmla="*/ 4870 w 0"/>
                <a:gd name="connsiteY0" fmla="*/ 17890 h 14197"/>
                <a:gd name="connsiteX1" fmla="*/ 11968 w 0"/>
                <a:gd name="connsiteY1" fmla="*/ 15050 h 14197"/>
                <a:gd name="connsiteX2" fmla="*/ 3450 w 0"/>
                <a:gd name="connsiteY2" fmla="*/ 853 h 14197"/>
                <a:gd name="connsiteX3" fmla="*/ 4870 w 0"/>
                <a:gd name="connsiteY3" fmla="*/ 17890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4870" y="17890"/>
                  </a:moveTo>
                  <a:cubicBezTo>
                    <a:pt x="4870" y="17890"/>
                    <a:pt x="10548" y="22149"/>
                    <a:pt x="11968" y="15050"/>
                  </a:cubicBezTo>
                  <a:cubicBezTo>
                    <a:pt x="13388" y="9372"/>
                    <a:pt x="10548" y="-3406"/>
                    <a:pt x="3450" y="853"/>
                  </a:cubicBezTo>
                  <a:cubicBezTo>
                    <a:pt x="-5068" y="6532"/>
                    <a:pt x="4870" y="17890"/>
                    <a:pt x="4870" y="17890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025B89CA-1B26-4949-BE5F-46941C7A0883}"/>
                </a:ext>
              </a:extLst>
            </p:cNvPr>
            <p:cNvSpPr/>
            <p:nvPr userDrawn="1"/>
          </p:nvSpPr>
          <p:spPr>
            <a:xfrm>
              <a:off x="7845925" y="3278977"/>
              <a:ext cx="10266" cy="10266"/>
            </a:xfrm>
            <a:custGeom>
              <a:avLst/>
              <a:gdLst>
                <a:gd name="connsiteX0" fmla="*/ 1267 w 0"/>
                <a:gd name="connsiteY0" fmla="*/ 15933 h 14197"/>
                <a:gd name="connsiteX1" fmla="*/ 8366 w 0"/>
                <a:gd name="connsiteY1" fmla="*/ 20193 h 14197"/>
                <a:gd name="connsiteX2" fmla="*/ 4107 w 0"/>
                <a:gd name="connsiteY2" fmla="*/ 317 h 14197"/>
                <a:gd name="connsiteX3" fmla="*/ 1267 w 0"/>
                <a:gd name="connsiteY3" fmla="*/ 15933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1267" y="15933"/>
                  </a:moveTo>
                  <a:cubicBezTo>
                    <a:pt x="1267" y="15933"/>
                    <a:pt x="5526" y="24452"/>
                    <a:pt x="8366" y="20193"/>
                  </a:cubicBezTo>
                  <a:cubicBezTo>
                    <a:pt x="12625" y="14514"/>
                    <a:pt x="12625" y="-2523"/>
                    <a:pt x="4107" y="317"/>
                  </a:cubicBezTo>
                  <a:cubicBezTo>
                    <a:pt x="-2992" y="3156"/>
                    <a:pt x="1267" y="15933"/>
                    <a:pt x="1267" y="15933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1087F16A-651C-4582-87DB-CFC3F71DBDB4}"/>
                </a:ext>
              </a:extLst>
            </p:cNvPr>
            <p:cNvSpPr/>
            <p:nvPr userDrawn="1"/>
          </p:nvSpPr>
          <p:spPr>
            <a:xfrm>
              <a:off x="7853112" y="3266699"/>
              <a:ext cx="10266" cy="10266"/>
            </a:xfrm>
            <a:custGeom>
              <a:avLst/>
              <a:gdLst>
                <a:gd name="connsiteX0" fmla="*/ 1267 w 0"/>
                <a:gd name="connsiteY0" fmla="*/ 15876 h 14197"/>
                <a:gd name="connsiteX1" fmla="*/ 8366 w 0"/>
                <a:gd name="connsiteY1" fmla="*/ 22975 h 14197"/>
                <a:gd name="connsiteX2" fmla="*/ 4107 w 0"/>
                <a:gd name="connsiteY2" fmla="*/ 260 h 14197"/>
                <a:gd name="connsiteX3" fmla="*/ 1267 w 0"/>
                <a:gd name="connsiteY3" fmla="*/ 1587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4197">
                  <a:moveTo>
                    <a:pt x="1267" y="15876"/>
                  </a:moveTo>
                  <a:cubicBezTo>
                    <a:pt x="1267" y="15876"/>
                    <a:pt x="4107" y="27234"/>
                    <a:pt x="8366" y="22975"/>
                  </a:cubicBezTo>
                  <a:cubicBezTo>
                    <a:pt x="12625" y="18716"/>
                    <a:pt x="12625" y="-2580"/>
                    <a:pt x="4107" y="260"/>
                  </a:cubicBezTo>
                  <a:cubicBezTo>
                    <a:pt x="-2992" y="3099"/>
                    <a:pt x="1267" y="15876"/>
                    <a:pt x="1267" y="15876"/>
                  </a:cubicBezTo>
                  <a:close/>
                </a:path>
              </a:pathLst>
            </a:custGeom>
            <a:solidFill>
              <a:srgbClr val="E3A08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6D82B12C-2EF1-4D6B-8960-BDB5EC3C3DFB}"/>
                </a:ext>
              </a:extLst>
            </p:cNvPr>
            <p:cNvSpPr/>
            <p:nvPr userDrawn="1"/>
          </p:nvSpPr>
          <p:spPr>
            <a:xfrm>
              <a:off x="7767691" y="3346436"/>
              <a:ext cx="195052" cy="215584"/>
            </a:xfrm>
            <a:custGeom>
              <a:avLst/>
              <a:gdLst>
                <a:gd name="connsiteX0" fmla="*/ 278405 w 269743"/>
                <a:gd name="connsiteY0" fmla="*/ 19183 h 298137"/>
                <a:gd name="connsiteX1" fmla="*/ 265627 w 269743"/>
                <a:gd name="connsiteY1" fmla="*/ 64614 h 298137"/>
                <a:gd name="connsiteX2" fmla="*/ 230135 w 269743"/>
                <a:gd name="connsiteY2" fmla="*/ 193807 h 298137"/>
                <a:gd name="connsiteX3" fmla="*/ 201741 w 269743"/>
                <a:gd name="connsiteY3" fmla="*/ 216522 h 298137"/>
                <a:gd name="connsiteX4" fmla="*/ 73968 w 269743"/>
                <a:gd name="connsiteY4" fmla="*/ 304544 h 298137"/>
                <a:gd name="connsiteX5" fmla="*/ 143 w 269743"/>
                <a:gd name="connsiteY5" fmla="*/ 270471 h 298137"/>
                <a:gd name="connsiteX6" fmla="*/ 88165 w 269743"/>
                <a:gd name="connsiteY6" fmla="*/ 2147 h 298137"/>
                <a:gd name="connsiteX7" fmla="*/ 146372 w 269743"/>
                <a:gd name="connsiteY7" fmla="*/ 7826 h 298137"/>
                <a:gd name="connsiteX8" fmla="*/ 99522 w 269743"/>
                <a:gd name="connsiteY8" fmla="*/ 190967 h 298137"/>
                <a:gd name="connsiteX9" fmla="*/ 159150 w 269743"/>
                <a:gd name="connsiteY9" fmla="*/ 129920 h 298137"/>
                <a:gd name="connsiteX10" fmla="*/ 230135 w 269743"/>
                <a:gd name="connsiteY10" fmla="*/ 57515 h 298137"/>
                <a:gd name="connsiteX11" fmla="*/ 271306 w 269743"/>
                <a:gd name="connsiteY11" fmla="*/ 22023 h 298137"/>
                <a:gd name="connsiteX12" fmla="*/ 278405 w 269743"/>
                <a:gd name="connsiteY12" fmla="*/ 19183 h 29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9743" h="298137">
                  <a:moveTo>
                    <a:pt x="278405" y="19183"/>
                  </a:moveTo>
                  <a:lnTo>
                    <a:pt x="265627" y="64614"/>
                  </a:lnTo>
                  <a:lnTo>
                    <a:pt x="230135" y="193807"/>
                  </a:lnTo>
                  <a:cubicBezTo>
                    <a:pt x="230135" y="193807"/>
                    <a:pt x="218777" y="203745"/>
                    <a:pt x="201741" y="216522"/>
                  </a:cubicBezTo>
                  <a:cubicBezTo>
                    <a:pt x="164828" y="246336"/>
                    <a:pt x="83905" y="300284"/>
                    <a:pt x="73968" y="304544"/>
                  </a:cubicBezTo>
                  <a:cubicBezTo>
                    <a:pt x="62610" y="308803"/>
                    <a:pt x="4402" y="310222"/>
                    <a:pt x="143" y="270471"/>
                  </a:cubicBezTo>
                  <a:cubicBezTo>
                    <a:pt x="-4116" y="230719"/>
                    <a:pt x="88165" y="2147"/>
                    <a:pt x="88165" y="2147"/>
                  </a:cubicBezTo>
                  <a:cubicBezTo>
                    <a:pt x="116559" y="-4952"/>
                    <a:pt x="146372" y="7826"/>
                    <a:pt x="146372" y="7826"/>
                  </a:cubicBezTo>
                  <a:lnTo>
                    <a:pt x="99522" y="190967"/>
                  </a:lnTo>
                  <a:cubicBezTo>
                    <a:pt x="99522" y="190967"/>
                    <a:pt x="132175" y="169672"/>
                    <a:pt x="159150" y="129920"/>
                  </a:cubicBezTo>
                  <a:cubicBezTo>
                    <a:pt x="173347" y="110044"/>
                    <a:pt x="203160" y="80231"/>
                    <a:pt x="230135" y="57515"/>
                  </a:cubicBezTo>
                  <a:cubicBezTo>
                    <a:pt x="248591" y="41899"/>
                    <a:pt x="264208" y="29121"/>
                    <a:pt x="271306" y="22023"/>
                  </a:cubicBezTo>
                  <a:cubicBezTo>
                    <a:pt x="276985" y="20603"/>
                    <a:pt x="278405" y="19183"/>
                    <a:pt x="278405" y="19183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9F2C7FE5-F5D9-4AE6-A569-3AE0A5F58ECA}"/>
                </a:ext>
              </a:extLst>
            </p:cNvPr>
            <p:cNvSpPr/>
            <p:nvPr userDrawn="1"/>
          </p:nvSpPr>
          <p:spPr>
            <a:xfrm>
              <a:off x="7854095" y="3160121"/>
              <a:ext cx="123191" cy="256649"/>
            </a:xfrm>
            <a:custGeom>
              <a:avLst/>
              <a:gdLst>
                <a:gd name="connsiteX0" fmla="*/ 55275 w 170364"/>
                <a:gd name="connsiteY0" fmla="*/ 0 h 354925"/>
                <a:gd name="connsiteX1" fmla="*/ 1327 w 170364"/>
                <a:gd name="connsiteY1" fmla="*/ 100799 h 354925"/>
                <a:gd name="connsiteX2" fmla="*/ 92188 w 170364"/>
                <a:gd name="connsiteY2" fmla="*/ 275422 h 354925"/>
                <a:gd name="connsiteX3" fmla="*/ 72312 w 170364"/>
                <a:gd name="connsiteY3" fmla="*/ 354926 h 354925"/>
                <a:gd name="connsiteX4" fmla="*/ 173111 w 170364"/>
                <a:gd name="connsiteY4" fmla="*/ 265484 h 354925"/>
                <a:gd name="connsiteX5" fmla="*/ 55275 w 170364"/>
                <a:gd name="connsiteY5" fmla="*/ 0 h 35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0364" h="354925">
                  <a:moveTo>
                    <a:pt x="55275" y="0"/>
                  </a:moveTo>
                  <a:cubicBezTo>
                    <a:pt x="55275" y="0"/>
                    <a:pt x="-10031" y="41171"/>
                    <a:pt x="1327" y="100799"/>
                  </a:cubicBezTo>
                  <a:cubicBezTo>
                    <a:pt x="19783" y="191660"/>
                    <a:pt x="86509" y="217214"/>
                    <a:pt x="92188" y="275422"/>
                  </a:cubicBezTo>
                  <a:cubicBezTo>
                    <a:pt x="97866" y="333630"/>
                    <a:pt x="72312" y="354926"/>
                    <a:pt x="72312" y="354926"/>
                  </a:cubicBezTo>
                  <a:lnTo>
                    <a:pt x="173111" y="265484"/>
                  </a:lnTo>
                  <a:lnTo>
                    <a:pt x="55275" y="0"/>
                  </a:ln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E06A3AD2-901B-4CE7-8B25-EC5E3FF3CDB6}"/>
                </a:ext>
              </a:extLst>
            </p:cNvPr>
            <p:cNvSpPr/>
            <p:nvPr userDrawn="1"/>
          </p:nvSpPr>
          <p:spPr>
            <a:xfrm>
              <a:off x="7956687" y="3275069"/>
              <a:ext cx="82127" cy="184787"/>
            </a:xfrm>
            <a:custGeom>
              <a:avLst/>
              <a:gdLst>
                <a:gd name="connsiteX0" fmla="*/ 119255 w 113576"/>
                <a:gd name="connsiteY0" fmla="*/ 90904 h 255546"/>
                <a:gd name="connsiteX1" fmla="*/ 41171 w 113576"/>
                <a:gd name="connsiteY1" fmla="*/ 261268 h 255546"/>
                <a:gd name="connsiteX2" fmla="*/ 11358 w 113576"/>
                <a:gd name="connsiteY2" fmla="*/ 146272 h 255546"/>
                <a:gd name="connsiteX3" fmla="*/ 14197 w 113576"/>
                <a:gd name="connsiteY3" fmla="*/ 126396 h 255546"/>
                <a:gd name="connsiteX4" fmla="*/ 2839 w 113576"/>
                <a:gd name="connsiteY4" fmla="*/ 83805 h 255546"/>
                <a:gd name="connsiteX5" fmla="*/ 0 w 113576"/>
                <a:gd name="connsiteY5" fmla="*/ 76707 h 255546"/>
                <a:gd name="connsiteX6" fmla="*/ 75244 w 113576"/>
                <a:gd name="connsiteY6" fmla="*/ 18499 h 255546"/>
                <a:gd name="connsiteX7" fmla="*/ 119255 w 113576"/>
                <a:gd name="connsiteY7" fmla="*/ 90904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76" h="255546">
                  <a:moveTo>
                    <a:pt x="119255" y="90904"/>
                  </a:moveTo>
                  <a:cubicBezTo>
                    <a:pt x="110737" y="183184"/>
                    <a:pt x="61047" y="251330"/>
                    <a:pt x="41171" y="261268"/>
                  </a:cubicBezTo>
                  <a:cubicBezTo>
                    <a:pt x="21296" y="271206"/>
                    <a:pt x="0" y="164728"/>
                    <a:pt x="11358" y="146272"/>
                  </a:cubicBezTo>
                  <a:cubicBezTo>
                    <a:pt x="14197" y="140593"/>
                    <a:pt x="14197" y="133495"/>
                    <a:pt x="14197" y="126396"/>
                  </a:cubicBezTo>
                  <a:cubicBezTo>
                    <a:pt x="12777" y="110780"/>
                    <a:pt x="5679" y="93743"/>
                    <a:pt x="2839" y="83805"/>
                  </a:cubicBezTo>
                  <a:cubicBezTo>
                    <a:pt x="1420" y="79546"/>
                    <a:pt x="0" y="76707"/>
                    <a:pt x="0" y="76707"/>
                  </a:cubicBezTo>
                  <a:cubicBezTo>
                    <a:pt x="0" y="76707"/>
                    <a:pt x="62467" y="-45388"/>
                    <a:pt x="75244" y="18499"/>
                  </a:cubicBezTo>
                  <a:cubicBezTo>
                    <a:pt x="88021" y="82385"/>
                    <a:pt x="119255" y="90904"/>
                    <a:pt x="119255" y="90904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7E2EE75E-655C-4122-8FCE-24E35A89AE58}"/>
                </a:ext>
              </a:extLst>
            </p:cNvPr>
            <p:cNvSpPr/>
            <p:nvPr userDrawn="1"/>
          </p:nvSpPr>
          <p:spPr>
            <a:xfrm>
              <a:off x="7957714" y="3316164"/>
              <a:ext cx="41064" cy="41064"/>
            </a:xfrm>
            <a:custGeom>
              <a:avLst/>
              <a:gdLst>
                <a:gd name="connsiteX0" fmla="*/ 56788 w 56788"/>
                <a:gd name="connsiteY0" fmla="*/ 0 h 56788"/>
                <a:gd name="connsiteX1" fmla="*/ 11358 w 56788"/>
                <a:gd name="connsiteY1" fmla="*/ 68146 h 56788"/>
                <a:gd name="connsiteX2" fmla="*/ 0 w 56788"/>
                <a:gd name="connsiteY2" fmla="*/ 25555 h 56788"/>
                <a:gd name="connsiteX3" fmla="*/ 56788 w 56788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788" h="56788">
                  <a:moveTo>
                    <a:pt x="56788" y="0"/>
                  </a:moveTo>
                  <a:cubicBezTo>
                    <a:pt x="56788" y="1420"/>
                    <a:pt x="41171" y="49690"/>
                    <a:pt x="11358" y="68146"/>
                  </a:cubicBezTo>
                  <a:cubicBezTo>
                    <a:pt x="9938" y="52529"/>
                    <a:pt x="2840" y="35493"/>
                    <a:pt x="0" y="25555"/>
                  </a:cubicBezTo>
                  <a:lnTo>
                    <a:pt x="56788" y="0"/>
                  </a:lnTo>
                  <a:close/>
                </a:path>
              </a:pathLst>
            </a:custGeom>
            <a:solidFill>
              <a:srgbClr val="C48A6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CA6787D6-4C01-4150-9F92-27E512A1C21E}"/>
                </a:ext>
              </a:extLst>
            </p:cNvPr>
            <p:cNvSpPr/>
            <p:nvPr userDrawn="1"/>
          </p:nvSpPr>
          <p:spPr>
            <a:xfrm>
              <a:off x="7872507" y="3163201"/>
              <a:ext cx="133457" cy="184787"/>
            </a:xfrm>
            <a:custGeom>
              <a:avLst/>
              <a:gdLst>
                <a:gd name="connsiteX0" fmla="*/ 0 w 184561"/>
                <a:gd name="connsiteY0" fmla="*/ 26974 h 255546"/>
                <a:gd name="connsiteX1" fmla="*/ 44011 w 184561"/>
                <a:gd name="connsiteY1" fmla="*/ 205857 h 255546"/>
                <a:gd name="connsiteX2" fmla="*/ 168944 w 184561"/>
                <a:gd name="connsiteY2" fmla="*/ 221474 h 255546"/>
                <a:gd name="connsiteX3" fmla="*/ 149069 w 184561"/>
                <a:gd name="connsiteY3" fmla="*/ 0 h 255546"/>
                <a:gd name="connsiteX4" fmla="*/ 0 w 184561"/>
                <a:gd name="connsiteY4" fmla="*/ 26974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561" h="255546">
                  <a:moveTo>
                    <a:pt x="0" y="26974"/>
                  </a:moveTo>
                  <a:cubicBezTo>
                    <a:pt x="0" y="26974"/>
                    <a:pt x="7099" y="150488"/>
                    <a:pt x="44011" y="205857"/>
                  </a:cubicBezTo>
                  <a:cubicBezTo>
                    <a:pt x="103638" y="293878"/>
                    <a:pt x="130613" y="264065"/>
                    <a:pt x="168944" y="221474"/>
                  </a:cubicBezTo>
                  <a:cubicBezTo>
                    <a:pt x="222893" y="159007"/>
                    <a:pt x="149069" y="0"/>
                    <a:pt x="149069" y="0"/>
                  </a:cubicBezTo>
                  <a:lnTo>
                    <a:pt x="0" y="26974"/>
                  </a:ln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DC21228C-93F3-4D59-922D-4C83C51036F8}"/>
                </a:ext>
              </a:extLst>
            </p:cNvPr>
            <p:cNvSpPr/>
            <p:nvPr userDrawn="1"/>
          </p:nvSpPr>
          <p:spPr>
            <a:xfrm>
              <a:off x="7859087" y="3144104"/>
              <a:ext cx="153989" cy="164255"/>
            </a:xfrm>
            <a:custGeom>
              <a:avLst/>
              <a:gdLst>
                <a:gd name="connsiteX0" fmla="*/ 15718 w 212955"/>
                <a:gd name="connsiteY0" fmla="*/ 152763 h 227152"/>
                <a:gd name="connsiteX1" fmla="*/ 110839 w 212955"/>
                <a:gd name="connsiteY1" fmla="*/ 128628 h 227152"/>
                <a:gd name="connsiteX2" fmla="*/ 203119 w 212955"/>
                <a:gd name="connsiteY2" fmla="*/ 228007 h 227152"/>
                <a:gd name="connsiteX3" fmla="*/ 193181 w 212955"/>
                <a:gd name="connsiteY3" fmla="*/ 53384 h 227152"/>
                <a:gd name="connsiteX4" fmla="*/ 54051 w 212955"/>
                <a:gd name="connsiteY4" fmla="*/ 13632 h 227152"/>
                <a:gd name="connsiteX5" fmla="*/ 15718 w 212955"/>
                <a:gd name="connsiteY5" fmla="*/ 152763 h 227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955" h="227152">
                  <a:moveTo>
                    <a:pt x="15718" y="152763"/>
                  </a:moveTo>
                  <a:cubicBezTo>
                    <a:pt x="15718" y="152763"/>
                    <a:pt x="55470" y="162701"/>
                    <a:pt x="110839" y="128628"/>
                  </a:cubicBezTo>
                  <a:cubicBezTo>
                    <a:pt x="166207" y="94555"/>
                    <a:pt x="188922" y="223748"/>
                    <a:pt x="203119" y="228007"/>
                  </a:cubicBezTo>
                  <a:cubicBezTo>
                    <a:pt x="215896" y="230846"/>
                    <a:pt x="224415" y="87456"/>
                    <a:pt x="193181" y="53384"/>
                  </a:cubicBezTo>
                  <a:cubicBezTo>
                    <a:pt x="163368" y="19311"/>
                    <a:pt x="107999" y="-21861"/>
                    <a:pt x="54051" y="13632"/>
                  </a:cubicBezTo>
                  <a:cubicBezTo>
                    <a:pt x="-4157" y="49124"/>
                    <a:pt x="-12676" y="100234"/>
                    <a:pt x="15718" y="152763"/>
                  </a:cubicBez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4D4BA449-4817-4C2E-809F-BBF3026AA5CC}"/>
                </a:ext>
              </a:extLst>
            </p:cNvPr>
            <p:cNvSpPr/>
            <p:nvPr userDrawn="1"/>
          </p:nvSpPr>
          <p:spPr>
            <a:xfrm>
              <a:off x="7881390" y="3140530"/>
              <a:ext cx="215584" cy="215584"/>
            </a:xfrm>
            <a:custGeom>
              <a:avLst/>
              <a:gdLst>
                <a:gd name="connsiteX0" fmla="*/ 492 w 298137"/>
                <a:gd name="connsiteY0" fmla="*/ 37031 h 298137"/>
                <a:gd name="connsiteX1" fmla="*/ 81415 w 298137"/>
                <a:gd name="connsiteY1" fmla="*/ 118 h 298137"/>
                <a:gd name="connsiteX2" fmla="*/ 209188 w 298137"/>
                <a:gd name="connsiteY2" fmla="*/ 140669 h 298137"/>
                <a:gd name="connsiteX3" fmla="*/ 301468 w 298137"/>
                <a:gd name="connsiteY3" fmla="*/ 296836 h 298137"/>
                <a:gd name="connsiteX4" fmla="*/ 179374 w 298137"/>
                <a:gd name="connsiteY4" fmla="*/ 248566 h 298137"/>
                <a:gd name="connsiteX5" fmla="*/ 135363 w 298137"/>
                <a:gd name="connsiteY5" fmla="*/ 163384 h 298137"/>
                <a:gd name="connsiteX6" fmla="*/ 33145 w 298137"/>
                <a:gd name="connsiteY6" fmla="*/ 61166 h 298137"/>
                <a:gd name="connsiteX7" fmla="*/ 492 w 298137"/>
                <a:gd name="connsiteY7" fmla="*/ 37031 h 29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137" h="298137">
                  <a:moveTo>
                    <a:pt x="492" y="37031"/>
                  </a:moveTo>
                  <a:cubicBezTo>
                    <a:pt x="492" y="37031"/>
                    <a:pt x="20367" y="2958"/>
                    <a:pt x="81415" y="118"/>
                  </a:cubicBezTo>
                  <a:cubicBezTo>
                    <a:pt x="128265" y="-2721"/>
                    <a:pt x="200670" y="45549"/>
                    <a:pt x="209188" y="140669"/>
                  </a:cubicBezTo>
                  <a:cubicBezTo>
                    <a:pt x="219126" y="262763"/>
                    <a:pt x="275914" y="285479"/>
                    <a:pt x="301468" y="296836"/>
                  </a:cubicBezTo>
                  <a:cubicBezTo>
                    <a:pt x="327023" y="308194"/>
                    <a:pt x="213447" y="301095"/>
                    <a:pt x="179374" y="248566"/>
                  </a:cubicBezTo>
                  <a:cubicBezTo>
                    <a:pt x="163757" y="224431"/>
                    <a:pt x="142462" y="188939"/>
                    <a:pt x="135363" y="163384"/>
                  </a:cubicBezTo>
                  <a:cubicBezTo>
                    <a:pt x="128265" y="137830"/>
                    <a:pt x="72896" y="42709"/>
                    <a:pt x="33145" y="61166"/>
                  </a:cubicBezTo>
                  <a:cubicBezTo>
                    <a:pt x="-6607" y="79622"/>
                    <a:pt x="492" y="37031"/>
                    <a:pt x="492" y="37031"/>
                  </a:cubicBezTo>
                  <a:close/>
                </a:path>
              </a:pathLst>
            </a:custGeom>
            <a:solidFill>
              <a:srgbClr val="45444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CF7D7AC4-0A98-4FC4-B2F4-402CAF0A2675}"/>
                </a:ext>
              </a:extLst>
            </p:cNvPr>
            <p:cNvSpPr/>
            <p:nvPr userDrawn="1"/>
          </p:nvSpPr>
          <p:spPr>
            <a:xfrm>
              <a:off x="7971467" y="3244141"/>
              <a:ext cx="20532" cy="30798"/>
            </a:xfrm>
            <a:custGeom>
              <a:avLst/>
              <a:gdLst>
                <a:gd name="connsiteX0" fmla="*/ 856 w 28394"/>
                <a:gd name="connsiteY0" fmla="*/ 24358 h 42591"/>
                <a:gd name="connsiteX1" fmla="*/ 27830 w 28394"/>
                <a:gd name="connsiteY1" fmla="*/ 4482 h 42591"/>
                <a:gd name="connsiteX2" fmla="*/ 19312 w 28394"/>
                <a:gd name="connsiteY2" fmla="*/ 54172 h 42591"/>
                <a:gd name="connsiteX3" fmla="*/ 856 w 28394"/>
                <a:gd name="connsiteY3" fmla="*/ 24358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42591">
                  <a:moveTo>
                    <a:pt x="856" y="24358"/>
                  </a:moveTo>
                  <a:cubicBezTo>
                    <a:pt x="-4823" y="8741"/>
                    <a:pt x="19312" y="-8295"/>
                    <a:pt x="27830" y="4482"/>
                  </a:cubicBezTo>
                  <a:cubicBezTo>
                    <a:pt x="36348" y="15840"/>
                    <a:pt x="33509" y="58431"/>
                    <a:pt x="19312" y="54172"/>
                  </a:cubicBezTo>
                  <a:cubicBezTo>
                    <a:pt x="5115" y="48493"/>
                    <a:pt x="856" y="24358"/>
                    <a:pt x="856" y="24358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F4828A41-3BC6-4453-AACE-1F9FE29A5910}"/>
                </a:ext>
              </a:extLst>
            </p:cNvPr>
            <p:cNvSpPr/>
            <p:nvPr userDrawn="1"/>
          </p:nvSpPr>
          <p:spPr>
            <a:xfrm>
              <a:off x="7914789" y="3363387"/>
              <a:ext cx="51330" cy="503031"/>
            </a:xfrm>
            <a:custGeom>
              <a:avLst/>
              <a:gdLst>
                <a:gd name="connsiteX0" fmla="*/ 70719 w 70985"/>
                <a:gd name="connsiteY0" fmla="*/ 0 h 695654"/>
                <a:gd name="connsiteX1" fmla="*/ 69299 w 70985"/>
                <a:gd name="connsiteY1" fmla="*/ 39752 h 695654"/>
                <a:gd name="connsiteX2" fmla="*/ 45164 w 70985"/>
                <a:gd name="connsiteY2" fmla="*/ 184561 h 695654"/>
                <a:gd name="connsiteX3" fmla="*/ 35226 w 70985"/>
                <a:gd name="connsiteY3" fmla="*/ 657322 h 695654"/>
                <a:gd name="connsiteX4" fmla="*/ 9672 w 70985"/>
                <a:gd name="connsiteY4" fmla="*/ 701333 h 695654"/>
                <a:gd name="connsiteX5" fmla="*/ 16770 w 70985"/>
                <a:gd name="connsiteY5" fmla="*/ 296718 h 695654"/>
                <a:gd name="connsiteX6" fmla="*/ 1154 w 70985"/>
                <a:gd name="connsiteY6" fmla="*/ 195919 h 695654"/>
                <a:gd name="connsiteX7" fmla="*/ 22449 w 70985"/>
                <a:gd name="connsiteY7" fmla="*/ 46850 h 695654"/>
                <a:gd name="connsiteX8" fmla="*/ 70719 w 70985"/>
                <a:gd name="connsiteY8" fmla="*/ 0 h 695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985" h="695654">
                  <a:moveTo>
                    <a:pt x="70719" y="0"/>
                  </a:moveTo>
                  <a:cubicBezTo>
                    <a:pt x="70719" y="0"/>
                    <a:pt x="73558" y="14197"/>
                    <a:pt x="69299" y="39752"/>
                  </a:cubicBezTo>
                  <a:cubicBezTo>
                    <a:pt x="62201" y="79503"/>
                    <a:pt x="46584" y="140551"/>
                    <a:pt x="45164" y="184561"/>
                  </a:cubicBezTo>
                  <a:cubicBezTo>
                    <a:pt x="42325" y="256966"/>
                    <a:pt x="84916" y="380480"/>
                    <a:pt x="35226" y="657322"/>
                  </a:cubicBezTo>
                  <a:cubicBezTo>
                    <a:pt x="26708" y="671519"/>
                    <a:pt x="18190" y="685716"/>
                    <a:pt x="9672" y="701333"/>
                  </a:cubicBezTo>
                  <a:cubicBezTo>
                    <a:pt x="9672" y="698493"/>
                    <a:pt x="46584" y="376221"/>
                    <a:pt x="16770" y="296718"/>
                  </a:cubicBezTo>
                  <a:cubicBezTo>
                    <a:pt x="-266" y="252707"/>
                    <a:pt x="-1686" y="254127"/>
                    <a:pt x="1154" y="195919"/>
                  </a:cubicBezTo>
                  <a:cubicBezTo>
                    <a:pt x="2573" y="150488"/>
                    <a:pt x="3993" y="107897"/>
                    <a:pt x="22449" y="46850"/>
                  </a:cubicBezTo>
                  <a:cubicBezTo>
                    <a:pt x="39485" y="28394"/>
                    <a:pt x="63620" y="5679"/>
                    <a:pt x="70719" y="0"/>
                  </a:cubicBezTo>
                  <a:close/>
                </a:path>
              </a:pathLst>
            </a:custGeom>
            <a:solidFill>
              <a:srgbClr val="406AB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545B2F10-F311-47B8-B892-15128EBCD59F}"/>
                </a:ext>
              </a:extLst>
            </p:cNvPr>
            <p:cNvSpPr/>
            <p:nvPr userDrawn="1"/>
          </p:nvSpPr>
          <p:spPr>
            <a:xfrm>
              <a:off x="7827337" y="3471179"/>
              <a:ext cx="30798" cy="51330"/>
            </a:xfrm>
            <a:custGeom>
              <a:avLst/>
              <a:gdLst>
                <a:gd name="connsiteX0" fmla="*/ 19876 w 42591"/>
                <a:gd name="connsiteY0" fmla="*/ 18456 h 70985"/>
                <a:gd name="connsiteX1" fmla="*/ 0 w 42591"/>
                <a:gd name="connsiteY1" fmla="*/ 79503 h 70985"/>
                <a:gd name="connsiteX2" fmla="*/ 42591 w 42591"/>
                <a:gd name="connsiteY2" fmla="*/ 0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591" h="70985">
                  <a:moveTo>
                    <a:pt x="19876" y="18456"/>
                  </a:moveTo>
                  <a:lnTo>
                    <a:pt x="0" y="79503"/>
                  </a:lnTo>
                  <a:lnTo>
                    <a:pt x="42591" y="0"/>
                  </a:lnTo>
                  <a:close/>
                </a:path>
              </a:pathLst>
            </a:custGeom>
            <a:solidFill>
              <a:srgbClr val="1C2F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8982B852-C18A-41CE-979C-BDC6B4EFBB68}"/>
                </a:ext>
              </a:extLst>
            </p:cNvPr>
            <p:cNvSpPr/>
            <p:nvPr userDrawn="1"/>
          </p:nvSpPr>
          <p:spPr>
            <a:xfrm>
              <a:off x="8052160" y="3019478"/>
              <a:ext cx="195052" cy="174521"/>
            </a:xfrm>
            <a:custGeom>
              <a:avLst/>
              <a:gdLst>
                <a:gd name="connsiteX0" fmla="*/ 278261 w 269743"/>
                <a:gd name="connsiteY0" fmla="*/ 0 h 241349"/>
                <a:gd name="connsiteX1" fmla="*/ 0 w 269743"/>
                <a:gd name="connsiteY1" fmla="*/ 0 h 241349"/>
                <a:gd name="connsiteX2" fmla="*/ 0 w 269743"/>
                <a:gd name="connsiteY2" fmla="*/ 201598 h 241349"/>
                <a:gd name="connsiteX3" fmla="*/ 0 w 269743"/>
                <a:gd name="connsiteY3" fmla="*/ 244189 h 241349"/>
                <a:gd name="connsiteX4" fmla="*/ 42591 w 269743"/>
                <a:gd name="connsiteY4" fmla="*/ 201598 h 241349"/>
                <a:gd name="connsiteX5" fmla="*/ 278261 w 269743"/>
                <a:gd name="connsiteY5" fmla="*/ 201598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9743" h="241349">
                  <a:moveTo>
                    <a:pt x="278261" y="0"/>
                  </a:moveTo>
                  <a:lnTo>
                    <a:pt x="0" y="0"/>
                  </a:lnTo>
                  <a:lnTo>
                    <a:pt x="0" y="201598"/>
                  </a:lnTo>
                  <a:lnTo>
                    <a:pt x="0" y="244189"/>
                  </a:lnTo>
                  <a:lnTo>
                    <a:pt x="42591" y="201598"/>
                  </a:lnTo>
                  <a:lnTo>
                    <a:pt x="278261" y="201598"/>
                  </a:lnTo>
                  <a:close/>
                </a:path>
              </a:pathLst>
            </a:custGeom>
            <a:solidFill>
              <a:srgbClr val="FFFFF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7AA84027-6442-41C0-817A-36B307D6DAFC}"/>
                </a:ext>
              </a:extLst>
            </p:cNvPr>
            <p:cNvSpPr/>
            <p:nvPr userDrawn="1"/>
          </p:nvSpPr>
          <p:spPr>
            <a:xfrm>
              <a:off x="9684033" y="4339936"/>
              <a:ext cx="143723" cy="71861"/>
            </a:xfrm>
            <a:custGeom>
              <a:avLst/>
              <a:gdLst>
                <a:gd name="connsiteX0" fmla="*/ 84330 w 198758"/>
                <a:gd name="connsiteY0" fmla="*/ 6740 h 99379"/>
                <a:gd name="connsiteX1" fmla="*/ 152476 w 198758"/>
                <a:gd name="connsiteY1" fmla="*/ 49331 h 99379"/>
                <a:gd name="connsiteX2" fmla="*/ 210684 w 198758"/>
                <a:gd name="connsiteY2" fmla="*/ 86243 h 99379"/>
                <a:gd name="connsiteX3" fmla="*/ 72973 w 198758"/>
                <a:gd name="connsiteY3" fmla="*/ 99021 h 99379"/>
                <a:gd name="connsiteX4" fmla="*/ 1988 w 198758"/>
                <a:gd name="connsiteY4" fmla="*/ 62108 h 99379"/>
                <a:gd name="connsiteX5" fmla="*/ 9086 w 198758"/>
                <a:gd name="connsiteY5" fmla="*/ 1061 h 99379"/>
                <a:gd name="connsiteX6" fmla="*/ 84330 w 198758"/>
                <a:gd name="connsiteY6" fmla="*/ 6740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8758" h="99379">
                  <a:moveTo>
                    <a:pt x="84330" y="6740"/>
                  </a:moveTo>
                  <a:cubicBezTo>
                    <a:pt x="84330" y="6740"/>
                    <a:pt x="118403" y="42233"/>
                    <a:pt x="152476" y="49331"/>
                  </a:cubicBezTo>
                  <a:cubicBezTo>
                    <a:pt x="186549" y="56430"/>
                    <a:pt x="210684" y="66367"/>
                    <a:pt x="210684" y="86243"/>
                  </a:cubicBezTo>
                  <a:cubicBezTo>
                    <a:pt x="210684" y="106119"/>
                    <a:pt x="111304" y="120316"/>
                    <a:pt x="72973" y="99021"/>
                  </a:cubicBezTo>
                  <a:cubicBezTo>
                    <a:pt x="14765" y="67787"/>
                    <a:pt x="9086" y="77725"/>
                    <a:pt x="1988" y="62108"/>
                  </a:cubicBezTo>
                  <a:cubicBezTo>
                    <a:pt x="-5111" y="46492"/>
                    <a:pt x="9086" y="5320"/>
                    <a:pt x="9086" y="1061"/>
                  </a:cubicBezTo>
                  <a:cubicBezTo>
                    <a:pt x="9086" y="-3198"/>
                    <a:pt x="84330" y="6740"/>
                    <a:pt x="84330" y="6740"/>
                  </a:cubicBezTo>
                  <a:close/>
                </a:path>
              </a:pathLst>
            </a:custGeom>
            <a:solidFill>
              <a:srgbClr val="555E9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169C275B-3D01-4724-B4FF-9AE143383078}"/>
                </a:ext>
              </a:extLst>
            </p:cNvPr>
            <p:cNvSpPr/>
            <p:nvPr userDrawn="1"/>
          </p:nvSpPr>
          <p:spPr>
            <a:xfrm>
              <a:off x="9691616" y="4325305"/>
              <a:ext cx="51330" cy="20532"/>
            </a:xfrm>
            <a:custGeom>
              <a:avLst/>
              <a:gdLst>
                <a:gd name="connsiteX0" fmla="*/ 71005 w 70985"/>
                <a:gd name="connsiteY0" fmla="*/ 9938 h 28394"/>
                <a:gd name="connsiteX1" fmla="*/ 75264 w 70985"/>
                <a:gd name="connsiteY1" fmla="*/ 26974 h 28394"/>
                <a:gd name="connsiteX2" fmla="*/ 19 w 70985"/>
                <a:gd name="connsiteY2" fmla="*/ 22715 h 28394"/>
                <a:gd name="connsiteX3" fmla="*/ 4279 w 70985"/>
                <a:gd name="connsiteY3" fmla="*/ 0 h 28394"/>
                <a:gd name="connsiteX4" fmla="*/ 71005 w 70985"/>
                <a:gd name="connsiteY4" fmla="*/ 9938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28394">
                  <a:moveTo>
                    <a:pt x="71005" y="9938"/>
                  </a:moveTo>
                  <a:cubicBezTo>
                    <a:pt x="71005" y="9938"/>
                    <a:pt x="75264" y="26974"/>
                    <a:pt x="75264" y="26974"/>
                  </a:cubicBezTo>
                  <a:cubicBezTo>
                    <a:pt x="75264" y="26974"/>
                    <a:pt x="-1400" y="35493"/>
                    <a:pt x="19" y="22715"/>
                  </a:cubicBezTo>
                  <a:cubicBezTo>
                    <a:pt x="1439" y="11358"/>
                    <a:pt x="4279" y="0"/>
                    <a:pt x="4279" y="0"/>
                  </a:cubicBezTo>
                  <a:lnTo>
                    <a:pt x="71005" y="9938"/>
                  </a:lnTo>
                  <a:close/>
                </a:path>
              </a:pathLst>
            </a:custGeom>
            <a:solidFill>
              <a:srgbClr val="2F6B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45949817-503B-457F-A81A-0D7C59DCBECA}"/>
                </a:ext>
              </a:extLst>
            </p:cNvPr>
            <p:cNvSpPr/>
            <p:nvPr userDrawn="1"/>
          </p:nvSpPr>
          <p:spPr>
            <a:xfrm>
              <a:off x="9411722" y="4349415"/>
              <a:ext cx="133457" cy="82127"/>
            </a:xfrm>
            <a:custGeom>
              <a:avLst/>
              <a:gdLst>
                <a:gd name="connsiteX0" fmla="*/ 79017 w 184561"/>
                <a:gd name="connsiteY0" fmla="*/ 2150 h 113576"/>
                <a:gd name="connsiteX1" fmla="*/ 137225 w 184561"/>
                <a:gd name="connsiteY1" fmla="*/ 44742 h 113576"/>
                <a:gd name="connsiteX2" fmla="*/ 192594 w 184561"/>
                <a:gd name="connsiteY2" fmla="*/ 87333 h 113576"/>
                <a:gd name="connsiteX3" fmla="*/ 59142 w 184561"/>
                <a:gd name="connsiteY3" fmla="*/ 98690 h 113576"/>
                <a:gd name="connsiteX4" fmla="*/ 2354 w 184561"/>
                <a:gd name="connsiteY4" fmla="*/ 63198 h 113576"/>
                <a:gd name="connsiteX5" fmla="*/ 5193 w 184561"/>
                <a:gd name="connsiteY5" fmla="*/ 3570 h 113576"/>
                <a:gd name="connsiteX6" fmla="*/ 79017 w 184561"/>
                <a:gd name="connsiteY6" fmla="*/ 2150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561" h="113576">
                  <a:moveTo>
                    <a:pt x="79017" y="2150"/>
                  </a:moveTo>
                  <a:cubicBezTo>
                    <a:pt x="79017" y="2150"/>
                    <a:pt x="104572" y="36223"/>
                    <a:pt x="137225" y="44742"/>
                  </a:cubicBezTo>
                  <a:cubicBezTo>
                    <a:pt x="169878" y="53260"/>
                    <a:pt x="191174" y="67457"/>
                    <a:pt x="192594" y="87333"/>
                  </a:cubicBezTo>
                  <a:cubicBezTo>
                    <a:pt x="194013" y="107209"/>
                    <a:pt x="115930" y="132763"/>
                    <a:pt x="59142" y="98690"/>
                  </a:cubicBezTo>
                  <a:cubicBezTo>
                    <a:pt x="22229" y="75975"/>
                    <a:pt x="9452" y="77395"/>
                    <a:pt x="2354" y="63198"/>
                  </a:cubicBezTo>
                  <a:cubicBezTo>
                    <a:pt x="-4745" y="49001"/>
                    <a:pt x="6613" y="7829"/>
                    <a:pt x="5193" y="3570"/>
                  </a:cubicBezTo>
                  <a:cubicBezTo>
                    <a:pt x="5193" y="-3528"/>
                    <a:pt x="79017" y="2150"/>
                    <a:pt x="79017" y="2150"/>
                  </a:cubicBezTo>
                  <a:close/>
                </a:path>
              </a:pathLst>
            </a:custGeom>
            <a:solidFill>
              <a:srgbClr val="555E9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06B01E2F-F572-4A10-AA3E-1C76C9CCDB47}"/>
                </a:ext>
              </a:extLst>
            </p:cNvPr>
            <p:cNvSpPr/>
            <p:nvPr userDrawn="1"/>
          </p:nvSpPr>
          <p:spPr>
            <a:xfrm>
              <a:off x="9416503" y="4333518"/>
              <a:ext cx="51330" cy="20532"/>
            </a:xfrm>
            <a:custGeom>
              <a:avLst/>
              <a:gdLst>
                <a:gd name="connsiteX0" fmla="*/ 72405 w 70985"/>
                <a:gd name="connsiteY0" fmla="*/ 7099 h 28394"/>
                <a:gd name="connsiteX1" fmla="*/ 73825 w 70985"/>
                <a:gd name="connsiteY1" fmla="*/ 24135 h 28394"/>
                <a:gd name="connsiteX2" fmla="*/ 0 w 70985"/>
                <a:gd name="connsiteY2" fmla="*/ 24135 h 28394"/>
                <a:gd name="connsiteX3" fmla="*/ 4259 w 70985"/>
                <a:gd name="connsiteY3" fmla="*/ 0 h 28394"/>
                <a:gd name="connsiteX4" fmla="*/ 72405 w 70985"/>
                <a:gd name="connsiteY4" fmla="*/ 7099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28394">
                  <a:moveTo>
                    <a:pt x="72405" y="7099"/>
                  </a:moveTo>
                  <a:cubicBezTo>
                    <a:pt x="72405" y="7099"/>
                    <a:pt x="73825" y="24135"/>
                    <a:pt x="73825" y="24135"/>
                  </a:cubicBezTo>
                  <a:cubicBezTo>
                    <a:pt x="73825" y="24135"/>
                    <a:pt x="0" y="36912"/>
                    <a:pt x="0" y="24135"/>
                  </a:cubicBezTo>
                  <a:cubicBezTo>
                    <a:pt x="0" y="14197"/>
                    <a:pt x="4259" y="0"/>
                    <a:pt x="4259" y="0"/>
                  </a:cubicBezTo>
                  <a:lnTo>
                    <a:pt x="72405" y="7099"/>
                  </a:lnTo>
                  <a:close/>
                </a:path>
              </a:pathLst>
            </a:custGeom>
            <a:solidFill>
              <a:srgbClr val="2F6B8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70A4762F-B06E-4A1D-ACAD-D8B700E28375}"/>
                </a:ext>
              </a:extLst>
            </p:cNvPr>
            <p:cNvSpPr/>
            <p:nvPr userDrawn="1"/>
          </p:nvSpPr>
          <p:spPr>
            <a:xfrm>
              <a:off x="9399051" y="3556931"/>
              <a:ext cx="349042" cy="790477"/>
            </a:xfrm>
            <a:custGeom>
              <a:avLst/>
              <a:gdLst>
                <a:gd name="connsiteX0" fmla="*/ 397517 w 482698"/>
                <a:gd name="connsiteY0" fmla="*/ 73072 h 1093170"/>
                <a:gd name="connsiteX1" fmla="*/ 447206 w 482698"/>
                <a:gd name="connsiteY1" fmla="*/ 418060 h 1093170"/>
                <a:gd name="connsiteX2" fmla="*/ 474181 w 482698"/>
                <a:gd name="connsiteY2" fmla="*/ 656569 h 1093170"/>
                <a:gd name="connsiteX3" fmla="*/ 492637 w 482698"/>
                <a:gd name="connsiteY3" fmla="*/ 1082480 h 1093170"/>
                <a:gd name="connsiteX4" fmla="*/ 388999 w 482698"/>
                <a:gd name="connsiteY4" fmla="*/ 1092418 h 1093170"/>
                <a:gd name="connsiteX5" fmla="*/ 336470 w 482698"/>
                <a:gd name="connsiteY5" fmla="*/ 587004 h 1093170"/>
                <a:gd name="connsiteX6" fmla="*/ 235671 w 482698"/>
                <a:gd name="connsiteY6" fmla="*/ 247695 h 1093170"/>
                <a:gd name="connsiteX7" fmla="*/ 163266 w 482698"/>
                <a:gd name="connsiteY7" fmla="*/ 639533 h 1093170"/>
                <a:gd name="connsiteX8" fmla="*/ 122094 w 482698"/>
                <a:gd name="connsiteY8" fmla="*/ 1099517 h 1093170"/>
                <a:gd name="connsiteX9" fmla="*/ 0 w 482698"/>
                <a:gd name="connsiteY9" fmla="*/ 1099517 h 1093170"/>
                <a:gd name="connsiteX10" fmla="*/ 22715 w 482698"/>
                <a:gd name="connsiteY10" fmla="*/ 638113 h 1093170"/>
                <a:gd name="connsiteX11" fmla="*/ 62467 w 482698"/>
                <a:gd name="connsiteY11" fmla="*/ 30481 h 1093170"/>
                <a:gd name="connsiteX12" fmla="*/ 397517 w 482698"/>
                <a:gd name="connsiteY12" fmla="*/ 73072 h 1093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2698" h="1093170">
                  <a:moveTo>
                    <a:pt x="397517" y="73072"/>
                  </a:moveTo>
                  <a:cubicBezTo>
                    <a:pt x="397517" y="73072"/>
                    <a:pt x="433009" y="331458"/>
                    <a:pt x="447206" y="418060"/>
                  </a:cubicBezTo>
                  <a:cubicBezTo>
                    <a:pt x="464243" y="520278"/>
                    <a:pt x="469921" y="604041"/>
                    <a:pt x="474181" y="656569"/>
                  </a:cubicBezTo>
                  <a:cubicBezTo>
                    <a:pt x="479860" y="723296"/>
                    <a:pt x="488378" y="1062604"/>
                    <a:pt x="492637" y="1082480"/>
                  </a:cubicBezTo>
                  <a:cubicBezTo>
                    <a:pt x="496896" y="1102356"/>
                    <a:pt x="388999" y="1092418"/>
                    <a:pt x="388999" y="1092418"/>
                  </a:cubicBezTo>
                  <a:cubicBezTo>
                    <a:pt x="388999" y="1092418"/>
                    <a:pt x="353506" y="657989"/>
                    <a:pt x="336470" y="587004"/>
                  </a:cubicBezTo>
                  <a:cubicBezTo>
                    <a:pt x="319433" y="521698"/>
                    <a:pt x="258386" y="240597"/>
                    <a:pt x="235671" y="247695"/>
                  </a:cubicBezTo>
                  <a:cubicBezTo>
                    <a:pt x="188821" y="261892"/>
                    <a:pt x="174624" y="588424"/>
                    <a:pt x="163266" y="639533"/>
                  </a:cubicBezTo>
                  <a:cubicBezTo>
                    <a:pt x="151908" y="692062"/>
                    <a:pt x="122094" y="1099517"/>
                    <a:pt x="122094" y="1099517"/>
                  </a:cubicBezTo>
                  <a:cubicBezTo>
                    <a:pt x="122094" y="1099517"/>
                    <a:pt x="21296" y="1115133"/>
                    <a:pt x="0" y="1099517"/>
                  </a:cubicBezTo>
                  <a:cubicBezTo>
                    <a:pt x="0" y="1099517"/>
                    <a:pt x="15617" y="734653"/>
                    <a:pt x="22715" y="638113"/>
                  </a:cubicBezTo>
                  <a:cubicBezTo>
                    <a:pt x="25555" y="601201"/>
                    <a:pt x="-1419" y="193747"/>
                    <a:pt x="62467" y="30481"/>
                  </a:cubicBezTo>
                  <a:cubicBezTo>
                    <a:pt x="96540" y="-57541"/>
                    <a:pt x="397517" y="73072"/>
                    <a:pt x="397517" y="73072"/>
                  </a:cubicBezTo>
                  <a:close/>
                </a:path>
              </a:pathLst>
            </a:custGeom>
            <a:solidFill>
              <a:srgbClr val="2F324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7DCF2B67-4FC6-4EF2-B06A-99DF65791431}"/>
                </a:ext>
              </a:extLst>
            </p:cNvPr>
            <p:cNvSpPr/>
            <p:nvPr userDrawn="1"/>
          </p:nvSpPr>
          <p:spPr>
            <a:xfrm>
              <a:off x="9623723" y="3149855"/>
              <a:ext cx="256649" cy="307978"/>
            </a:xfrm>
            <a:custGeom>
              <a:avLst/>
              <a:gdLst>
                <a:gd name="connsiteX0" fmla="*/ 352296 w 354925"/>
                <a:gd name="connsiteY0" fmla="*/ 433009 h 425910"/>
                <a:gd name="connsiteX1" fmla="*/ 92491 w 354925"/>
                <a:gd name="connsiteY1" fmla="*/ 379060 h 425910"/>
                <a:gd name="connsiteX2" fmla="*/ 47060 w 354925"/>
                <a:gd name="connsiteY2" fmla="*/ 292459 h 425910"/>
                <a:gd name="connsiteX3" fmla="*/ 35703 w 354925"/>
                <a:gd name="connsiteY3" fmla="*/ 252707 h 425910"/>
                <a:gd name="connsiteX4" fmla="*/ 35703 w 354925"/>
                <a:gd name="connsiteY4" fmla="*/ 252707 h 425910"/>
                <a:gd name="connsiteX5" fmla="*/ 14407 w 354925"/>
                <a:gd name="connsiteY5" fmla="*/ 151908 h 425910"/>
                <a:gd name="connsiteX6" fmla="*/ 49900 w 354925"/>
                <a:gd name="connsiteY6" fmla="*/ 0 h 425910"/>
                <a:gd name="connsiteX7" fmla="*/ 96750 w 354925"/>
                <a:gd name="connsiteY7" fmla="*/ 41171 h 425910"/>
                <a:gd name="connsiteX8" fmla="*/ 137921 w 354925"/>
                <a:gd name="connsiteY8" fmla="*/ 143390 h 425910"/>
                <a:gd name="connsiteX9" fmla="*/ 181932 w 354925"/>
                <a:gd name="connsiteY9" fmla="*/ 302397 h 425910"/>
                <a:gd name="connsiteX10" fmla="*/ 234461 w 354925"/>
                <a:gd name="connsiteY10" fmla="*/ 330791 h 425910"/>
                <a:gd name="connsiteX11" fmla="*/ 365073 w 354925"/>
                <a:gd name="connsiteY11" fmla="*/ 346407 h 425910"/>
                <a:gd name="connsiteX12" fmla="*/ 352296 w 354925"/>
                <a:gd name="connsiteY12" fmla="*/ 433009 h 42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4925" h="425910">
                  <a:moveTo>
                    <a:pt x="352296" y="433009"/>
                  </a:moveTo>
                  <a:cubicBezTo>
                    <a:pt x="352296" y="433009"/>
                    <a:pt x="130822" y="403195"/>
                    <a:pt x="92491" y="379060"/>
                  </a:cubicBezTo>
                  <a:cubicBezTo>
                    <a:pt x="75454" y="367703"/>
                    <a:pt x="59837" y="332210"/>
                    <a:pt x="47060" y="292459"/>
                  </a:cubicBezTo>
                  <a:cubicBezTo>
                    <a:pt x="42801" y="279681"/>
                    <a:pt x="38542" y="265484"/>
                    <a:pt x="35703" y="252707"/>
                  </a:cubicBezTo>
                  <a:cubicBezTo>
                    <a:pt x="35703" y="252707"/>
                    <a:pt x="35703" y="252707"/>
                    <a:pt x="35703" y="252707"/>
                  </a:cubicBezTo>
                  <a:cubicBezTo>
                    <a:pt x="21506" y="200178"/>
                    <a:pt x="14407" y="151908"/>
                    <a:pt x="14407" y="151908"/>
                  </a:cubicBezTo>
                  <a:cubicBezTo>
                    <a:pt x="14407" y="151908"/>
                    <a:pt x="-35283" y="19876"/>
                    <a:pt x="49900" y="0"/>
                  </a:cubicBezTo>
                  <a:cubicBezTo>
                    <a:pt x="49900" y="0"/>
                    <a:pt x="82553" y="8518"/>
                    <a:pt x="96750" y="41171"/>
                  </a:cubicBezTo>
                  <a:cubicBezTo>
                    <a:pt x="110947" y="73825"/>
                    <a:pt x="130822" y="122094"/>
                    <a:pt x="137921" y="143390"/>
                  </a:cubicBezTo>
                  <a:cubicBezTo>
                    <a:pt x="142180" y="157587"/>
                    <a:pt x="179092" y="298137"/>
                    <a:pt x="181932" y="302397"/>
                  </a:cubicBezTo>
                  <a:cubicBezTo>
                    <a:pt x="184771" y="306656"/>
                    <a:pt x="203227" y="322272"/>
                    <a:pt x="234461" y="330791"/>
                  </a:cubicBezTo>
                  <a:cubicBezTo>
                    <a:pt x="284150" y="344988"/>
                    <a:pt x="365073" y="346407"/>
                    <a:pt x="365073" y="346407"/>
                  </a:cubicBezTo>
                  <a:lnTo>
                    <a:pt x="352296" y="433009"/>
                  </a:ln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9D251ABF-7A0F-488B-AAAA-FF879E567ACE}"/>
                </a:ext>
              </a:extLst>
            </p:cNvPr>
            <p:cNvSpPr/>
            <p:nvPr userDrawn="1"/>
          </p:nvSpPr>
          <p:spPr>
            <a:xfrm>
              <a:off x="9528731" y="2928965"/>
              <a:ext cx="133457" cy="184787"/>
            </a:xfrm>
            <a:custGeom>
              <a:avLst/>
              <a:gdLst>
                <a:gd name="connsiteX0" fmla="*/ 6643 w 184561"/>
                <a:gd name="connsiteY0" fmla="*/ 160666 h 255546"/>
                <a:gd name="connsiteX1" fmla="*/ 6643 w 184561"/>
                <a:gd name="connsiteY1" fmla="*/ 160666 h 255546"/>
                <a:gd name="connsiteX2" fmla="*/ 25099 w 184561"/>
                <a:gd name="connsiteY2" fmla="*/ 218874 h 255546"/>
                <a:gd name="connsiteX3" fmla="*/ 179847 w 184561"/>
                <a:gd name="connsiteY3" fmla="*/ 163505 h 255546"/>
                <a:gd name="connsiteX4" fmla="*/ 186945 w 184561"/>
                <a:gd name="connsiteY4" fmla="*/ 95360 h 255546"/>
                <a:gd name="connsiteX5" fmla="*/ 140095 w 184561"/>
                <a:gd name="connsiteY5" fmla="*/ 7338 h 255546"/>
                <a:gd name="connsiteX6" fmla="*/ 18001 w 184561"/>
                <a:gd name="connsiteY6" fmla="*/ 30053 h 255546"/>
                <a:gd name="connsiteX7" fmla="*/ 6643 w 184561"/>
                <a:gd name="connsiteY7" fmla="*/ 160666 h 25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4561" h="255546">
                  <a:moveTo>
                    <a:pt x="6643" y="160666"/>
                  </a:moveTo>
                  <a:cubicBezTo>
                    <a:pt x="6643" y="160666"/>
                    <a:pt x="6643" y="160666"/>
                    <a:pt x="6643" y="160666"/>
                  </a:cubicBezTo>
                  <a:cubicBezTo>
                    <a:pt x="10902" y="180542"/>
                    <a:pt x="16581" y="200418"/>
                    <a:pt x="25099" y="218874"/>
                  </a:cubicBezTo>
                  <a:cubicBezTo>
                    <a:pt x="52074" y="279921"/>
                    <a:pt x="145774" y="302636"/>
                    <a:pt x="179847" y="163505"/>
                  </a:cubicBezTo>
                  <a:cubicBezTo>
                    <a:pt x="186945" y="136531"/>
                    <a:pt x="188365" y="115235"/>
                    <a:pt x="186945" y="95360"/>
                  </a:cubicBezTo>
                  <a:cubicBezTo>
                    <a:pt x="182686" y="28634"/>
                    <a:pt x="140095" y="7338"/>
                    <a:pt x="140095" y="7338"/>
                  </a:cubicBezTo>
                  <a:cubicBezTo>
                    <a:pt x="107442" y="-2600"/>
                    <a:pt x="47814" y="-8279"/>
                    <a:pt x="18001" y="30053"/>
                  </a:cubicBezTo>
                  <a:cubicBezTo>
                    <a:pt x="-1875" y="57028"/>
                    <a:pt x="-4715" y="110976"/>
                    <a:pt x="6643" y="160666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0AAA7634-80B1-420B-B91A-6B8004D46D73}"/>
                </a:ext>
              </a:extLst>
            </p:cNvPr>
            <p:cNvSpPr/>
            <p:nvPr userDrawn="1"/>
          </p:nvSpPr>
          <p:spPr>
            <a:xfrm>
              <a:off x="9524052" y="2925927"/>
              <a:ext cx="143723" cy="112925"/>
            </a:xfrm>
            <a:custGeom>
              <a:avLst/>
              <a:gdLst>
                <a:gd name="connsiteX0" fmla="*/ 13115 w 198758"/>
                <a:gd name="connsiteY0" fmla="*/ 164866 h 156167"/>
                <a:gd name="connsiteX1" fmla="*/ 13115 w 198758"/>
                <a:gd name="connsiteY1" fmla="*/ 164866 h 156167"/>
                <a:gd name="connsiteX2" fmla="*/ 42928 w 198758"/>
                <a:gd name="connsiteY2" fmla="*/ 136472 h 156167"/>
                <a:gd name="connsiteX3" fmla="*/ 51447 w 198758"/>
                <a:gd name="connsiteY3" fmla="*/ 133633 h 156167"/>
                <a:gd name="connsiteX4" fmla="*/ 81261 w 198758"/>
                <a:gd name="connsiteY4" fmla="*/ 129374 h 156167"/>
                <a:gd name="connsiteX5" fmla="*/ 103975 w 198758"/>
                <a:gd name="connsiteY5" fmla="*/ 74005 h 156167"/>
                <a:gd name="connsiteX6" fmla="*/ 194837 w 198758"/>
                <a:gd name="connsiteY6" fmla="*/ 99560 h 156167"/>
                <a:gd name="connsiteX7" fmla="*/ 170702 w 198758"/>
                <a:gd name="connsiteY7" fmla="*/ 15798 h 156167"/>
                <a:gd name="connsiteX8" fmla="*/ 13115 w 198758"/>
                <a:gd name="connsiteY8" fmla="*/ 25735 h 156167"/>
                <a:gd name="connsiteX9" fmla="*/ 13115 w 198758"/>
                <a:gd name="connsiteY9" fmla="*/ 164866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8758" h="156167">
                  <a:moveTo>
                    <a:pt x="13115" y="164866"/>
                  </a:moveTo>
                  <a:cubicBezTo>
                    <a:pt x="13115" y="164866"/>
                    <a:pt x="13115" y="164866"/>
                    <a:pt x="13115" y="164866"/>
                  </a:cubicBezTo>
                  <a:cubicBezTo>
                    <a:pt x="13115" y="164866"/>
                    <a:pt x="17374" y="167706"/>
                    <a:pt x="42928" y="136472"/>
                  </a:cubicBezTo>
                  <a:cubicBezTo>
                    <a:pt x="48607" y="130793"/>
                    <a:pt x="50027" y="136472"/>
                    <a:pt x="51447" y="133633"/>
                  </a:cubicBezTo>
                  <a:lnTo>
                    <a:pt x="81261" y="129374"/>
                  </a:lnTo>
                  <a:cubicBezTo>
                    <a:pt x="81261" y="129374"/>
                    <a:pt x="65644" y="78264"/>
                    <a:pt x="103975" y="74005"/>
                  </a:cubicBezTo>
                  <a:cubicBezTo>
                    <a:pt x="143727" y="69746"/>
                    <a:pt x="194837" y="99560"/>
                    <a:pt x="194837" y="99560"/>
                  </a:cubicBezTo>
                  <a:cubicBezTo>
                    <a:pt x="218971" y="-1239"/>
                    <a:pt x="170702" y="15798"/>
                    <a:pt x="170702" y="15798"/>
                  </a:cubicBezTo>
                  <a:cubicBezTo>
                    <a:pt x="146567" y="-1239"/>
                    <a:pt x="42928" y="-12596"/>
                    <a:pt x="13115" y="25735"/>
                  </a:cubicBezTo>
                  <a:cubicBezTo>
                    <a:pt x="-9601" y="54130"/>
                    <a:pt x="1757" y="115177"/>
                    <a:pt x="13115" y="164866"/>
                  </a:cubicBezTo>
                  <a:close/>
                </a:path>
              </a:pathLst>
            </a:custGeom>
            <a:solidFill>
              <a:srgbClr val="66524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DC488960-A31D-4C8E-85D1-8475F48462F4}"/>
                </a:ext>
              </a:extLst>
            </p:cNvPr>
            <p:cNvSpPr/>
            <p:nvPr userDrawn="1"/>
          </p:nvSpPr>
          <p:spPr>
            <a:xfrm>
              <a:off x="9545025" y="2998319"/>
              <a:ext cx="20532" cy="30798"/>
            </a:xfrm>
            <a:custGeom>
              <a:avLst/>
              <a:gdLst>
                <a:gd name="connsiteX0" fmla="*/ 32379 w 28394"/>
                <a:gd name="connsiteY0" fmla="*/ 13644 h 42591"/>
                <a:gd name="connsiteX1" fmla="*/ 3985 w 28394"/>
                <a:gd name="connsiteY1" fmla="*/ 9385 h 42591"/>
                <a:gd name="connsiteX2" fmla="*/ 21021 w 28394"/>
                <a:gd name="connsiteY2" fmla="*/ 51976 h 42591"/>
                <a:gd name="connsiteX3" fmla="*/ 32379 w 28394"/>
                <a:gd name="connsiteY3" fmla="*/ 13644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42591">
                  <a:moveTo>
                    <a:pt x="32379" y="13644"/>
                  </a:moveTo>
                  <a:cubicBezTo>
                    <a:pt x="32379" y="3706"/>
                    <a:pt x="15342" y="-9072"/>
                    <a:pt x="3985" y="9385"/>
                  </a:cubicBezTo>
                  <a:cubicBezTo>
                    <a:pt x="-8793" y="27841"/>
                    <a:pt x="12503" y="54815"/>
                    <a:pt x="21021" y="51976"/>
                  </a:cubicBezTo>
                  <a:cubicBezTo>
                    <a:pt x="28120" y="50556"/>
                    <a:pt x="32379" y="30680"/>
                    <a:pt x="32379" y="13644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329FB3DE-9F73-4F5F-9D25-89C2AA914DD7}"/>
                </a:ext>
              </a:extLst>
            </p:cNvPr>
            <p:cNvSpPr/>
            <p:nvPr userDrawn="1"/>
          </p:nvSpPr>
          <p:spPr>
            <a:xfrm>
              <a:off x="9417530" y="3135473"/>
              <a:ext cx="277181" cy="503031"/>
            </a:xfrm>
            <a:custGeom>
              <a:avLst/>
              <a:gdLst>
                <a:gd name="connsiteX0" fmla="*/ 254127 w 383319"/>
                <a:gd name="connsiteY0" fmla="*/ 13 h 695654"/>
                <a:gd name="connsiteX1" fmla="*/ 344987 w 383319"/>
                <a:gd name="connsiteY1" fmla="*/ 25568 h 695654"/>
                <a:gd name="connsiteX2" fmla="*/ 380480 w 383319"/>
                <a:gd name="connsiteY2" fmla="*/ 161859 h 695654"/>
                <a:gd name="connsiteX3" fmla="*/ 363444 w 383319"/>
                <a:gd name="connsiteY3" fmla="*/ 340741 h 695654"/>
                <a:gd name="connsiteX4" fmla="*/ 386159 w 383319"/>
                <a:gd name="connsiteY4" fmla="*/ 674371 h 695654"/>
                <a:gd name="connsiteX5" fmla="*/ 0 w 383319"/>
                <a:gd name="connsiteY5" fmla="*/ 702765 h 695654"/>
                <a:gd name="connsiteX6" fmla="*/ 41171 w 383319"/>
                <a:gd name="connsiteY6" fmla="*/ 390431 h 695654"/>
                <a:gd name="connsiteX7" fmla="*/ 2839 w 383319"/>
                <a:gd name="connsiteY7" fmla="*/ 157600 h 695654"/>
                <a:gd name="connsiteX8" fmla="*/ 41171 w 383319"/>
                <a:gd name="connsiteY8" fmla="*/ 25568 h 695654"/>
                <a:gd name="connsiteX9" fmla="*/ 154747 w 383319"/>
                <a:gd name="connsiteY9" fmla="*/ 13 h 695654"/>
                <a:gd name="connsiteX10" fmla="*/ 254127 w 383319"/>
                <a:gd name="connsiteY10" fmla="*/ 13 h 695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3319" h="695654">
                  <a:moveTo>
                    <a:pt x="254127" y="13"/>
                  </a:moveTo>
                  <a:cubicBezTo>
                    <a:pt x="254127" y="13"/>
                    <a:pt x="335050" y="17049"/>
                    <a:pt x="344987" y="25568"/>
                  </a:cubicBezTo>
                  <a:cubicBezTo>
                    <a:pt x="356345" y="35505"/>
                    <a:pt x="379060" y="134885"/>
                    <a:pt x="380480" y="161859"/>
                  </a:cubicBezTo>
                  <a:cubicBezTo>
                    <a:pt x="381900" y="188833"/>
                    <a:pt x="374801" y="299570"/>
                    <a:pt x="363444" y="340741"/>
                  </a:cubicBezTo>
                  <a:cubicBezTo>
                    <a:pt x="352086" y="381913"/>
                    <a:pt x="379060" y="616164"/>
                    <a:pt x="386159" y="674371"/>
                  </a:cubicBezTo>
                  <a:cubicBezTo>
                    <a:pt x="386159" y="674371"/>
                    <a:pt x="173203" y="725481"/>
                    <a:pt x="0" y="702765"/>
                  </a:cubicBezTo>
                  <a:cubicBezTo>
                    <a:pt x="0" y="702765"/>
                    <a:pt x="46850" y="448639"/>
                    <a:pt x="41171" y="390431"/>
                  </a:cubicBezTo>
                  <a:cubicBezTo>
                    <a:pt x="32653" y="316606"/>
                    <a:pt x="2839" y="157600"/>
                    <a:pt x="2839" y="157600"/>
                  </a:cubicBezTo>
                  <a:cubicBezTo>
                    <a:pt x="2839" y="157600"/>
                    <a:pt x="22715" y="34086"/>
                    <a:pt x="41171" y="25568"/>
                  </a:cubicBezTo>
                  <a:cubicBezTo>
                    <a:pt x="102218" y="-1407"/>
                    <a:pt x="154747" y="13"/>
                    <a:pt x="154747" y="13"/>
                  </a:cubicBezTo>
                  <a:lnTo>
                    <a:pt x="254127" y="13"/>
                  </a:ln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38A84C33-02B4-460F-9BBC-84C6262D5046}"/>
                </a:ext>
              </a:extLst>
            </p:cNvPr>
            <p:cNvSpPr/>
            <p:nvPr userDrawn="1"/>
          </p:nvSpPr>
          <p:spPr>
            <a:xfrm>
              <a:off x="9531481" y="3049937"/>
              <a:ext cx="71861" cy="102659"/>
            </a:xfrm>
            <a:custGeom>
              <a:avLst/>
              <a:gdLst>
                <a:gd name="connsiteX0" fmla="*/ 106478 w 99379"/>
                <a:gd name="connsiteY0" fmla="*/ 136759 h 141970"/>
                <a:gd name="connsiteX1" fmla="*/ 0 w 99379"/>
                <a:gd name="connsiteY1" fmla="*/ 119723 h 141970"/>
                <a:gd name="connsiteX2" fmla="*/ 8518 w 99379"/>
                <a:gd name="connsiteY2" fmla="*/ 14665 h 141970"/>
                <a:gd name="connsiteX3" fmla="*/ 106478 w 99379"/>
                <a:gd name="connsiteY3" fmla="*/ 78551 h 141970"/>
                <a:gd name="connsiteX4" fmla="*/ 106478 w 99379"/>
                <a:gd name="connsiteY4" fmla="*/ 99847 h 141970"/>
                <a:gd name="connsiteX5" fmla="*/ 106478 w 99379"/>
                <a:gd name="connsiteY5" fmla="*/ 118303 h 141970"/>
                <a:gd name="connsiteX6" fmla="*/ 106478 w 99379"/>
                <a:gd name="connsiteY6" fmla="*/ 136759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379" h="141970">
                  <a:moveTo>
                    <a:pt x="106478" y="136759"/>
                  </a:moveTo>
                  <a:cubicBezTo>
                    <a:pt x="106478" y="136759"/>
                    <a:pt x="82343" y="156635"/>
                    <a:pt x="0" y="119723"/>
                  </a:cubicBezTo>
                  <a:cubicBezTo>
                    <a:pt x="0" y="119723"/>
                    <a:pt x="12777" y="71453"/>
                    <a:pt x="8518" y="14665"/>
                  </a:cubicBezTo>
                  <a:cubicBezTo>
                    <a:pt x="4259" y="-40703"/>
                    <a:pt x="106478" y="78551"/>
                    <a:pt x="106478" y="78551"/>
                  </a:cubicBezTo>
                  <a:cubicBezTo>
                    <a:pt x="106478" y="87070"/>
                    <a:pt x="106478" y="94168"/>
                    <a:pt x="106478" y="99847"/>
                  </a:cubicBezTo>
                  <a:cubicBezTo>
                    <a:pt x="106478" y="106946"/>
                    <a:pt x="106478" y="114044"/>
                    <a:pt x="106478" y="118303"/>
                  </a:cubicBezTo>
                  <a:cubicBezTo>
                    <a:pt x="105058" y="129661"/>
                    <a:pt x="106478" y="136759"/>
                    <a:pt x="106478" y="136759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A4EDF5B6-C578-44A0-AAC1-F947BB8BDDEF}"/>
                </a:ext>
              </a:extLst>
            </p:cNvPr>
            <p:cNvSpPr/>
            <p:nvPr userDrawn="1"/>
          </p:nvSpPr>
          <p:spPr>
            <a:xfrm>
              <a:off x="9528402" y="3134734"/>
              <a:ext cx="82127" cy="20532"/>
            </a:xfrm>
            <a:custGeom>
              <a:avLst/>
              <a:gdLst>
                <a:gd name="connsiteX0" fmla="*/ 117836 w 113576"/>
                <a:gd name="connsiteY0" fmla="*/ 5296 h 28394"/>
                <a:gd name="connsiteX1" fmla="*/ 110737 w 113576"/>
                <a:gd name="connsiteY1" fmla="*/ 37949 h 28394"/>
                <a:gd name="connsiteX2" fmla="*/ 0 w 113576"/>
                <a:gd name="connsiteY2" fmla="*/ 2456 h 28394"/>
                <a:gd name="connsiteX3" fmla="*/ 117836 w 113576"/>
                <a:gd name="connsiteY3" fmla="*/ 5296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576" h="28394">
                  <a:moveTo>
                    <a:pt x="117836" y="5296"/>
                  </a:moveTo>
                  <a:cubicBezTo>
                    <a:pt x="117836" y="5296"/>
                    <a:pt x="136291" y="33690"/>
                    <a:pt x="110737" y="37949"/>
                  </a:cubicBezTo>
                  <a:cubicBezTo>
                    <a:pt x="83762" y="42208"/>
                    <a:pt x="29814" y="37949"/>
                    <a:pt x="0" y="2456"/>
                  </a:cubicBezTo>
                  <a:cubicBezTo>
                    <a:pt x="0" y="2456"/>
                    <a:pt x="80923" y="-4642"/>
                    <a:pt x="117836" y="5296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D557EF0F-FE3B-4BEB-A513-2806B0308742}"/>
                </a:ext>
              </a:extLst>
            </p:cNvPr>
            <p:cNvSpPr/>
            <p:nvPr userDrawn="1"/>
          </p:nvSpPr>
          <p:spPr>
            <a:xfrm>
              <a:off x="9542773" y="3254568"/>
              <a:ext cx="472233" cy="410638"/>
            </a:xfrm>
            <a:custGeom>
              <a:avLst/>
              <a:gdLst>
                <a:gd name="connsiteX0" fmla="*/ 221474 w 653062"/>
                <a:gd name="connsiteY0" fmla="*/ 0 h 567880"/>
                <a:gd name="connsiteX1" fmla="*/ 0 w 653062"/>
                <a:gd name="connsiteY1" fmla="*/ 545166 h 567880"/>
                <a:gd name="connsiteX2" fmla="*/ 444367 w 653062"/>
                <a:gd name="connsiteY2" fmla="*/ 545166 h 567880"/>
                <a:gd name="connsiteX3" fmla="*/ 663001 w 653062"/>
                <a:gd name="connsiteY3" fmla="*/ 14197 h 567880"/>
                <a:gd name="connsiteX4" fmla="*/ 221474 w 653062"/>
                <a:gd name="connsiteY4" fmla="*/ 0 h 567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3062" h="567880">
                  <a:moveTo>
                    <a:pt x="221474" y="0"/>
                  </a:moveTo>
                  <a:cubicBezTo>
                    <a:pt x="221474" y="0"/>
                    <a:pt x="156167" y="346407"/>
                    <a:pt x="0" y="545166"/>
                  </a:cubicBezTo>
                  <a:cubicBezTo>
                    <a:pt x="0" y="545166"/>
                    <a:pt x="159007" y="617570"/>
                    <a:pt x="444367" y="545166"/>
                  </a:cubicBezTo>
                  <a:cubicBezTo>
                    <a:pt x="444367" y="545166"/>
                    <a:pt x="643125" y="205857"/>
                    <a:pt x="663001" y="14197"/>
                  </a:cubicBezTo>
                  <a:cubicBezTo>
                    <a:pt x="663001" y="14197"/>
                    <a:pt x="465663" y="53949"/>
                    <a:pt x="221474" y="0"/>
                  </a:cubicBezTo>
                  <a:close/>
                </a:path>
              </a:pathLst>
            </a:custGeom>
            <a:solidFill>
              <a:srgbClr val="DBDFF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FEB05022-BAB3-4E67-81A4-C5EF4CEB72B2}"/>
                </a:ext>
              </a:extLst>
            </p:cNvPr>
            <p:cNvSpPr/>
            <p:nvPr userDrawn="1"/>
          </p:nvSpPr>
          <p:spPr>
            <a:xfrm>
              <a:off x="9565359" y="3282286"/>
              <a:ext cx="431169" cy="369574"/>
            </a:xfrm>
            <a:custGeom>
              <a:avLst/>
              <a:gdLst>
                <a:gd name="connsiteX0" fmla="*/ 201598 w 596274"/>
                <a:gd name="connsiteY0" fmla="*/ 0 h 511092"/>
                <a:gd name="connsiteX1" fmla="*/ 0 w 596274"/>
                <a:gd name="connsiteY1" fmla="*/ 494056 h 511092"/>
                <a:gd name="connsiteX2" fmla="*/ 401776 w 596274"/>
                <a:gd name="connsiteY2" fmla="*/ 494056 h 511092"/>
                <a:gd name="connsiteX3" fmla="*/ 599114 w 596274"/>
                <a:gd name="connsiteY3" fmla="*/ 14197 h 511092"/>
                <a:gd name="connsiteX4" fmla="*/ 201598 w 596274"/>
                <a:gd name="connsiteY4" fmla="*/ 0 h 511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6274" h="511092">
                  <a:moveTo>
                    <a:pt x="201598" y="0"/>
                  </a:moveTo>
                  <a:cubicBezTo>
                    <a:pt x="201598" y="0"/>
                    <a:pt x="143390" y="313754"/>
                    <a:pt x="0" y="494056"/>
                  </a:cubicBezTo>
                  <a:cubicBezTo>
                    <a:pt x="0" y="494056"/>
                    <a:pt x="143390" y="560782"/>
                    <a:pt x="401776" y="494056"/>
                  </a:cubicBezTo>
                  <a:cubicBezTo>
                    <a:pt x="401776" y="494056"/>
                    <a:pt x="580658" y="185981"/>
                    <a:pt x="599114" y="14197"/>
                  </a:cubicBezTo>
                  <a:cubicBezTo>
                    <a:pt x="600534" y="12777"/>
                    <a:pt x="421652" y="48270"/>
                    <a:pt x="201598" y="0"/>
                  </a:cubicBezTo>
                  <a:close/>
                </a:path>
              </a:pathLst>
            </a:custGeom>
            <a:solidFill>
              <a:srgbClr val="BDC9F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87C4A8BF-8116-42F1-A1FD-0FF7BF8C4C36}"/>
                </a:ext>
              </a:extLst>
            </p:cNvPr>
            <p:cNvSpPr/>
            <p:nvPr userDrawn="1"/>
          </p:nvSpPr>
          <p:spPr>
            <a:xfrm>
              <a:off x="9552013" y="3097499"/>
              <a:ext cx="51330" cy="30798"/>
            </a:xfrm>
            <a:custGeom>
              <a:avLst/>
              <a:gdLst>
                <a:gd name="connsiteX0" fmla="*/ 76664 w 70985"/>
                <a:gd name="connsiteY0" fmla="*/ 51109 h 42591"/>
                <a:gd name="connsiteX1" fmla="*/ 0 w 70985"/>
                <a:gd name="connsiteY1" fmla="*/ 0 h 42591"/>
                <a:gd name="connsiteX2" fmla="*/ 76664 w 70985"/>
                <a:gd name="connsiteY2" fmla="*/ 31233 h 42591"/>
                <a:gd name="connsiteX3" fmla="*/ 76664 w 70985"/>
                <a:gd name="connsiteY3" fmla="*/ 32653 h 42591"/>
                <a:gd name="connsiteX4" fmla="*/ 76664 w 70985"/>
                <a:gd name="connsiteY4" fmla="*/ 51109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85" h="42591">
                  <a:moveTo>
                    <a:pt x="76664" y="51109"/>
                  </a:moveTo>
                  <a:cubicBezTo>
                    <a:pt x="19876" y="48270"/>
                    <a:pt x="0" y="0"/>
                    <a:pt x="0" y="0"/>
                  </a:cubicBezTo>
                  <a:cubicBezTo>
                    <a:pt x="28394" y="39752"/>
                    <a:pt x="76664" y="31233"/>
                    <a:pt x="76664" y="31233"/>
                  </a:cubicBezTo>
                  <a:lnTo>
                    <a:pt x="76664" y="32653"/>
                  </a:lnTo>
                  <a:cubicBezTo>
                    <a:pt x="76664" y="39752"/>
                    <a:pt x="76664" y="45430"/>
                    <a:pt x="76664" y="51109"/>
                  </a:cubicBezTo>
                  <a:close/>
                </a:path>
              </a:pathLst>
            </a:custGeom>
            <a:solidFill>
              <a:srgbClr val="A7786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E9F5CFE4-0940-4C0E-A26B-504FE08379E2}"/>
                </a:ext>
              </a:extLst>
            </p:cNvPr>
            <p:cNvSpPr/>
            <p:nvPr userDrawn="1"/>
          </p:nvSpPr>
          <p:spPr>
            <a:xfrm>
              <a:off x="9552939" y="3498415"/>
              <a:ext cx="51330" cy="51330"/>
            </a:xfrm>
            <a:custGeom>
              <a:avLst/>
              <a:gdLst>
                <a:gd name="connsiteX0" fmla="*/ 28534 w 70985"/>
                <a:gd name="connsiteY0" fmla="*/ 4926 h 70985"/>
                <a:gd name="connsiteX1" fmla="*/ 41311 w 70985"/>
                <a:gd name="connsiteY1" fmla="*/ 9185 h 70985"/>
                <a:gd name="connsiteX2" fmla="*/ 76804 w 70985"/>
                <a:gd name="connsiteY2" fmla="*/ 3507 h 70985"/>
                <a:gd name="connsiteX3" fmla="*/ 59767 w 70985"/>
                <a:gd name="connsiteY3" fmla="*/ 75911 h 70985"/>
                <a:gd name="connsiteX4" fmla="*/ 5819 w 70985"/>
                <a:gd name="connsiteY4" fmla="*/ 47517 h 70985"/>
                <a:gd name="connsiteX5" fmla="*/ 28534 w 70985"/>
                <a:gd name="connsiteY5" fmla="*/ 4926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985" h="70985">
                  <a:moveTo>
                    <a:pt x="28534" y="4926"/>
                  </a:moveTo>
                  <a:cubicBezTo>
                    <a:pt x="28534" y="4926"/>
                    <a:pt x="35632" y="10605"/>
                    <a:pt x="41311" y="9185"/>
                  </a:cubicBezTo>
                  <a:cubicBezTo>
                    <a:pt x="52669" y="7766"/>
                    <a:pt x="64026" y="-6431"/>
                    <a:pt x="76804" y="3507"/>
                  </a:cubicBezTo>
                  <a:cubicBezTo>
                    <a:pt x="89581" y="14864"/>
                    <a:pt x="68285" y="68813"/>
                    <a:pt x="59767" y="75911"/>
                  </a:cubicBezTo>
                  <a:cubicBezTo>
                    <a:pt x="51249" y="83010"/>
                    <a:pt x="29953" y="74492"/>
                    <a:pt x="5819" y="47517"/>
                  </a:cubicBezTo>
                  <a:cubicBezTo>
                    <a:pt x="-15477" y="21963"/>
                    <a:pt x="28534" y="4926"/>
                    <a:pt x="28534" y="4926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F997AAB1-C278-477A-91EC-47A80B369CB5}"/>
                </a:ext>
              </a:extLst>
            </p:cNvPr>
            <p:cNvSpPr/>
            <p:nvPr userDrawn="1"/>
          </p:nvSpPr>
          <p:spPr>
            <a:xfrm>
              <a:off x="9578186" y="3498897"/>
              <a:ext cx="92393" cy="61596"/>
            </a:xfrm>
            <a:custGeom>
              <a:avLst/>
              <a:gdLst>
                <a:gd name="connsiteX0" fmla="*/ 37629 w 127773"/>
                <a:gd name="connsiteY0" fmla="*/ 0 h 85182"/>
                <a:gd name="connsiteX1" fmla="*/ 85899 w 127773"/>
                <a:gd name="connsiteY1" fmla="*/ 17036 h 85182"/>
                <a:gd name="connsiteX2" fmla="*/ 132749 w 127773"/>
                <a:gd name="connsiteY2" fmla="*/ 46850 h 85182"/>
                <a:gd name="connsiteX3" fmla="*/ 87319 w 127773"/>
                <a:gd name="connsiteY3" fmla="*/ 34073 h 85182"/>
                <a:gd name="connsiteX4" fmla="*/ 70282 w 127773"/>
                <a:gd name="connsiteY4" fmla="*/ 32653 h 85182"/>
                <a:gd name="connsiteX5" fmla="*/ 90158 w 127773"/>
                <a:gd name="connsiteY5" fmla="*/ 44011 h 85182"/>
                <a:gd name="connsiteX6" fmla="*/ 134169 w 127773"/>
                <a:gd name="connsiteY6" fmla="*/ 79503 h 85182"/>
                <a:gd name="connsiteX7" fmla="*/ 122811 w 127773"/>
                <a:gd name="connsiteY7" fmla="*/ 80923 h 85182"/>
                <a:gd name="connsiteX8" fmla="*/ 127071 w 127773"/>
                <a:gd name="connsiteY8" fmla="*/ 88022 h 85182"/>
                <a:gd name="connsiteX9" fmla="*/ 71702 w 127773"/>
                <a:gd name="connsiteY9" fmla="*/ 80923 h 85182"/>
                <a:gd name="connsiteX10" fmla="*/ 83060 w 127773"/>
                <a:gd name="connsiteY10" fmla="*/ 95120 h 85182"/>
                <a:gd name="connsiteX11" fmla="*/ 4976 w 127773"/>
                <a:gd name="connsiteY11" fmla="*/ 73825 h 85182"/>
                <a:gd name="connsiteX12" fmla="*/ 37629 w 127773"/>
                <a:gd name="connsiteY12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7773" h="85182">
                  <a:moveTo>
                    <a:pt x="37629" y="0"/>
                  </a:moveTo>
                  <a:cubicBezTo>
                    <a:pt x="37629" y="0"/>
                    <a:pt x="60344" y="5679"/>
                    <a:pt x="85899" y="17036"/>
                  </a:cubicBezTo>
                  <a:cubicBezTo>
                    <a:pt x="108614" y="25555"/>
                    <a:pt x="132749" y="41171"/>
                    <a:pt x="132749" y="46850"/>
                  </a:cubicBezTo>
                  <a:cubicBezTo>
                    <a:pt x="132749" y="52529"/>
                    <a:pt x="110034" y="41171"/>
                    <a:pt x="87319" y="34073"/>
                  </a:cubicBezTo>
                  <a:cubicBezTo>
                    <a:pt x="66023" y="26974"/>
                    <a:pt x="70282" y="32653"/>
                    <a:pt x="70282" y="32653"/>
                  </a:cubicBezTo>
                  <a:cubicBezTo>
                    <a:pt x="70282" y="32653"/>
                    <a:pt x="68863" y="31234"/>
                    <a:pt x="90158" y="44011"/>
                  </a:cubicBezTo>
                  <a:cubicBezTo>
                    <a:pt x="112874" y="56788"/>
                    <a:pt x="135588" y="73825"/>
                    <a:pt x="134169" y="79503"/>
                  </a:cubicBezTo>
                  <a:cubicBezTo>
                    <a:pt x="134169" y="82343"/>
                    <a:pt x="132749" y="83762"/>
                    <a:pt x="122811" y="80923"/>
                  </a:cubicBezTo>
                  <a:cubicBezTo>
                    <a:pt x="127071" y="83762"/>
                    <a:pt x="127071" y="86602"/>
                    <a:pt x="127071" y="88022"/>
                  </a:cubicBezTo>
                  <a:cubicBezTo>
                    <a:pt x="121391" y="100799"/>
                    <a:pt x="85899" y="86602"/>
                    <a:pt x="71702" y="80923"/>
                  </a:cubicBezTo>
                  <a:cubicBezTo>
                    <a:pt x="83060" y="85182"/>
                    <a:pt x="90158" y="89441"/>
                    <a:pt x="83060" y="95120"/>
                  </a:cubicBezTo>
                  <a:cubicBezTo>
                    <a:pt x="74541" y="100799"/>
                    <a:pt x="23432" y="79503"/>
                    <a:pt x="4976" y="73825"/>
                  </a:cubicBezTo>
                  <a:cubicBezTo>
                    <a:pt x="-16319" y="66726"/>
                    <a:pt x="37629" y="0"/>
                    <a:pt x="37629" y="0"/>
                  </a:cubicBezTo>
                  <a:close/>
                </a:path>
              </a:pathLst>
            </a:custGeom>
            <a:solidFill>
              <a:srgbClr val="EEA98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1F1134C3-F623-4A93-8EE4-759AA0169ED5}"/>
                </a:ext>
              </a:extLst>
            </p:cNvPr>
            <p:cNvSpPr/>
            <p:nvPr userDrawn="1"/>
          </p:nvSpPr>
          <p:spPr>
            <a:xfrm>
              <a:off x="9429655" y="3260728"/>
              <a:ext cx="123191" cy="205318"/>
            </a:xfrm>
            <a:custGeom>
              <a:avLst/>
              <a:gdLst>
                <a:gd name="connsiteX0" fmla="*/ 81191 w 170364"/>
                <a:gd name="connsiteY0" fmla="*/ 0 h 283940"/>
                <a:gd name="connsiteX1" fmla="*/ 59895 w 170364"/>
                <a:gd name="connsiteY1" fmla="*/ 168945 h 283940"/>
                <a:gd name="connsiteX2" fmla="*/ 170632 w 170364"/>
                <a:gd name="connsiteY2" fmla="*/ 291039 h 283940"/>
                <a:gd name="connsiteX3" fmla="*/ 268 w 170364"/>
                <a:gd name="connsiteY3" fmla="*/ 168945 h 283940"/>
                <a:gd name="connsiteX4" fmla="*/ 81191 w 170364"/>
                <a:gd name="connsiteY4" fmla="*/ 0 h 283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364" h="283940">
                  <a:moveTo>
                    <a:pt x="81191" y="0"/>
                  </a:moveTo>
                  <a:cubicBezTo>
                    <a:pt x="81191" y="0"/>
                    <a:pt x="47118" y="159007"/>
                    <a:pt x="59895" y="168945"/>
                  </a:cubicBezTo>
                  <a:cubicBezTo>
                    <a:pt x="72672" y="178882"/>
                    <a:pt x="153596" y="278262"/>
                    <a:pt x="170632" y="291039"/>
                  </a:cubicBezTo>
                  <a:cubicBezTo>
                    <a:pt x="187668" y="303816"/>
                    <a:pt x="5947" y="193079"/>
                    <a:pt x="268" y="168945"/>
                  </a:cubicBezTo>
                  <a:cubicBezTo>
                    <a:pt x="-5411" y="144810"/>
                    <a:pt x="81191" y="0"/>
                    <a:pt x="81191" y="0"/>
                  </a:cubicBezTo>
                  <a:close/>
                </a:path>
              </a:pathLst>
            </a:custGeom>
            <a:solidFill>
              <a:srgbClr val="A87F2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7DEA5401-6FB5-4C5F-BF9C-9B9F3636E6A7}"/>
                </a:ext>
              </a:extLst>
            </p:cNvPr>
            <p:cNvSpPr/>
            <p:nvPr userDrawn="1"/>
          </p:nvSpPr>
          <p:spPr>
            <a:xfrm>
              <a:off x="9371090" y="3150905"/>
              <a:ext cx="215584" cy="390106"/>
            </a:xfrm>
            <a:custGeom>
              <a:avLst/>
              <a:gdLst>
                <a:gd name="connsiteX0" fmla="*/ 149405 w 298137"/>
                <a:gd name="connsiteY0" fmla="*/ 2807 h 539486"/>
                <a:gd name="connsiteX1" fmla="*/ 169281 w 298137"/>
                <a:gd name="connsiteY1" fmla="*/ 90828 h 539486"/>
                <a:gd name="connsiteX2" fmla="*/ 143726 w 298137"/>
                <a:gd name="connsiteY2" fmla="*/ 201565 h 539486"/>
                <a:gd name="connsiteX3" fmla="*/ 108234 w 298137"/>
                <a:gd name="connsiteY3" fmla="*/ 322240 h 539486"/>
                <a:gd name="connsiteX4" fmla="*/ 207613 w 298137"/>
                <a:gd name="connsiteY4" fmla="*/ 408842 h 539486"/>
                <a:gd name="connsiteX5" fmla="*/ 306992 w 298137"/>
                <a:gd name="connsiteY5" fmla="*/ 485506 h 539486"/>
                <a:gd name="connsiteX6" fmla="*/ 268660 w 298137"/>
                <a:gd name="connsiteY6" fmla="*/ 550812 h 539486"/>
                <a:gd name="connsiteX7" fmla="*/ 52865 w 298137"/>
                <a:gd name="connsiteY7" fmla="*/ 408842 h 539486"/>
                <a:gd name="connsiteX8" fmla="*/ 1756 w 298137"/>
                <a:gd name="connsiteY8" fmla="*/ 316561 h 539486"/>
                <a:gd name="connsiteX9" fmla="*/ 35829 w 298137"/>
                <a:gd name="connsiteY9" fmla="*/ 129160 h 539486"/>
                <a:gd name="connsiteX10" fmla="*/ 149405 w 298137"/>
                <a:gd name="connsiteY10" fmla="*/ 2807 h 539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8137" h="539486">
                  <a:moveTo>
                    <a:pt x="149405" y="2807"/>
                  </a:moveTo>
                  <a:cubicBezTo>
                    <a:pt x="162182" y="7066"/>
                    <a:pt x="169281" y="28361"/>
                    <a:pt x="169281" y="90828"/>
                  </a:cubicBezTo>
                  <a:cubicBezTo>
                    <a:pt x="170701" y="154715"/>
                    <a:pt x="150825" y="185948"/>
                    <a:pt x="143726" y="201565"/>
                  </a:cubicBezTo>
                  <a:cubicBezTo>
                    <a:pt x="136628" y="217182"/>
                    <a:pt x="99716" y="310882"/>
                    <a:pt x="108234" y="322240"/>
                  </a:cubicBezTo>
                  <a:cubicBezTo>
                    <a:pt x="118172" y="333597"/>
                    <a:pt x="201934" y="403163"/>
                    <a:pt x="207613" y="408842"/>
                  </a:cubicBezTo>
                  <a:cubicBezTo>
                    <a:pt x="213292" y="414520"/>
                    <a:pt x="306992" y="485506"/>
                    <a:pt x="306992" y="485506"/>
                  </a:cubicBezTo>
                  <a:lnTo>
                    <a:pt x="268660" y="550812"/>
                  </a:lnTo>
                  <a:cubicBezTo>
                    <a:pt x="268660" y="550812"/>
                    <a:pt x="68482" y="421619"/>
                    <a:pt x="52865" y="408842"/>
                  </a:cubicBezTo>
                  <a:cubicBezTo>
                    <a:pt x="37249" y="396064"/>
                    <a:pt x="-9602" y="369090"/>
                    <a:pt x="1756" y="316561"/>
                  </a:cubicBezTo>
                  <a:cubicBezTo>
                    <a:pt x="13114" y="264032"/>
                    <a:pt x="31570" y="139098"/>
                    <a:pt x="35829" y="129160"/>
                  </a:cubicBezTo>
                  <a:cubicBezTo>
                    <a:pt x="38668" y="117803"/>
                    <a:pt x="64223" y="-21328"/>
                    <a:pt x="149405" y="2807"/>
                  </a:cubicBezTo>
                  <a:close/>
                </a:path>
              </a:pathLst>
            </a:custGeom>
            <a:solidFill>
              <a:srgbClr val="F5B45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CE2DF257-9223-42F5-90E6-8DF512302CAB}"/>
                </a:ext>
              </a:extLst>
            </p:cNvPr>
            <p:cNvSpPr/>
            <p:nvPr userDrawn="1"/>
          </p:nvSpPr>
          <p:spPr>
            <a:xfrm>
              <a:off x="6882706" y="4139492"/>
              <a:ext cx="184787" cy="82127"/>
            </a:xfrm>
            <a:custGeom>
              <a:avLst/>
              <a:gdLst>
                <a:gd name="connsiteX0" fmla="*/ 200405 w 255546"/>
                <a:gd name="connsiteY0" fmla="*/ 0 h 113576"/>
                <a:gd name="connsiteX1" fmla="*/ 137938 w 255546"/>
                <a:gd name="connsiteY1" fmla="*/ 36912 h 113576"/>
                <a:gd name="connsiteX2" fmla="*/ 3067 w 255546"/>
                <a:gd name="connsiteY2" fmla="*/ 53949 h 113576"/>
                <a:gd name="connsiteX3" fmla="*/ 227 w 255546"/>
                <a:gd name="connsiteY3" fmla="*/ 89441 h 113576"/>
                <a:gd name="connsiteX4" fmla="*/ 193307 w 255546"/>
                <a:gd name="connsiteY4" fmla="*/ 102219 h 113576"/>
                <a:gd name="connsiteX5" fmla="*/ 196146 w 255546"/>
                <a:gd name="connsiteY5" fmla="*/ 112156 h 113576"/>
                <a:gd name="connsiteX6" fmla="*/ 261452 w 255546"/>
                <a:gd name="connsiteY6" fmla="*/ 116416 h 113576"/>
                <a:gd name="connsiteX7" fmla="*/ 262872 w 255546"/>
                <a:gd name="connsiteY7" fmla="*/ 32653 h 113576"/>
                <a:gd name="connsiteX8" fmla="*/ 200405 w 255546"/>
                <a:gd name="connsiteY8" fmla="*/ 0 h 11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5546" h="113576">
                  <a:moveTo>
                    <a:pt x="200405" y="0"/>
                  </a:moveTo>
                  <a:cubicBezTo>
                    <a:pt x="200405" y="0"/>
                    <a:pt x="160653" y="35493"/>
                    <a:pt x="137938" y="36912"/>
                  </a:cubicBezTo>
                  <a:cubicBezTo>
                    <a:pt x="115223" y="38332"/>
                    <a:pt x="8745" y="52529"/>
                    <a:pt x="3067" y="53949"/>
                  </a:cubicBezTo>
                  <a:cubicBezTo>
                    <a:pt x="-1193" y="55368"/>
                    <a:pt x="227" y="89441"/>
                    <a:pt x="227" y="89441"/>
                  </a:cubicBezTo>
                  <a:cubicBezTo>
                    <a:pt x="227" y="89441"/>
                    <a:pt x="140778" y="124934"/>
                    <a:pt x="193307" y="102219"/>
                  </a:cubicBezTo>
                  <a:lnTo>
                    <a:pt x="196146" y="112156"/>
                  </a:lnTo>
                  <a:cubicBezTo>
                    <a:pt x="196146" y="112156"/>
                    <a:pt x="258613" y="122094"/>
                    <a:pt x="261452" y="116416"/>
                  </a:cubicBezTo>
                  <a:cubicBezTo>
                    <a:pt x="264292" y="110737"/>
                    <a:pt x="268551" y="52529"/>
                    <a:pt x="262872" y="32653"/>
                  </a:cubicBezTo>
                  <a:cubicBezTo>
                    <a:pt x="255774" y="14197"/>
                    <a:pt x="200405" y="0"/>
                    <a:pt x="200405" y="0"/>
                  </a:cubicBezTo>
                  <a:close/>
                </a:path>
              </a:pathLst>
            </a:custGeom>
            <a:solidFill>
              <a:srgbClr val="452A2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AFC4B1AB-599B-4361-A9F7-79C417986B68}"/>
                </a:ext>
              </a:extLst>
            </p:cNvPr>
            <p:cNvSpPr/>
            <p:nvPr userDrawn="1"/>
          </p:nvSpPr>
          <p:spPr>
            <a:xfrm>
              <a:off x="7027620" y="4122039"/>
              <a:ext cx="51330" cy="30798"/>
            </a:xfrm>
            <a:custGeom>
              <a:avLst/>
              <a:gdLst>
                <a:gd name="connsiteX0" fmla="*/ 12777 w 70985"/>
                <a:gd name="connsiteY0" fmla="*/ 0 h 42591"/>
                <a:gd name="connsiteX1" fmla="*/ 0 w 70985"/>
                <a:gd name="connsiteY1" fmla="*/ 24135 h 42591"/>
                <a:gd name="connsiteX2" fmla="*/ 62467 w 70985"/>
                <a:gd name="connsiteY2" fmla="*/ 56788 h 42591"/>
                <a:gd name="connsiteX3" fmla="*/ 79503 w 70985"/>
                <a:gd name="connsiteY3" fmla="*/ 34073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985" h="42591">
                  <a:moveTo>
                    <a:pt x="12777" y="0"/>
                  </a:moveTo>
                  <a:lnTo>
                    <a:pt x="0" y="24135"/>
                  </a:lnTo>
                  <a:lnTo>
                    <a:pt x="62467" y="56788"/>
                  </a:lnTo>
                  <a:lnTo>
                    <a:pt x="79503" y="34073"/>
                  </a:lnTo>
                  <a:close/>
                </a:path>
              </a:pathLst>
            </a:custGeom>
            <a:solidFill>
              <a:srgbClr val="0F151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2346721F-481B-4B5E-97BD-82B1B86E19E9}"/>
                </a:ext>
              </a:extLst>
            </p:cNvPr>
            <p:cNvSpPr/>
            <p:nvPr userDrawn="1"/>
          </p:nvSpPr>
          <p:spPr>
            <a:xfrm>
              <a:off x="6686791" y="3969889"/>
              <a:ext cx="133457" cy="174521"/>
            </a:xfrm>
            <a:custGeom>
              <a:avLst/>
              <a:gdLst>
                <a:gd name="connsiteX0" fmla="*/ 178882 w 184561"/>
                <a:gd name="connsiteY0" fmla="*/ 142267 h 241349"/>
                <a:gd name="connsiteX1" fmla="*/ 117835 w 184561"/>
                <a:gd name="connsiteY1" fmla="*/ 112453 h 241349"/>
                <a:gd name="connsiteX2" fmla="*/ 31233 w 184561"/>
                <a:gd name="connsiteY2" fmla="*/ 297 h 241349"/>
                <a:gd name="connsiteX3" fmla="*/ 0 w 184561"/>
                <a:gd name="connsiteY3" fmla="*/ 15914 h 241349"/>
                <a:gd name="connsiteX4" fmla="*/ 88022 w 184561"/>
                <a:gd name="connsiteY4" fmla="*/ 187698 h 241349"/>
                <a:gd name="connsiteX5" fmla="*/ 80923 w 184561"/>
                <a:gd name="connsiteY5" fmla="*/ 196216 h 241349"/>
                <a:gd name="connsiteX6" fmla="*/ 110737 w 184561"/>
                <a:gd name="connsiteY6" fmla="*/ 254424 h 241349"/>
                <a:gd name="connsiteX7" fmla="*/ 183142 w 184561"/>
                <a:gd name="connsiteY7" fmla="*/ 211833 h 241349"/>
                <a:gd name="connsiteX8" fmla="*/ 178882 w 184561"/>
                <a:gd name="connsiteY8" fmla="*/ 142267 h 24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561" h="241349">
                  <a:moveTo>
                    <a:pt x="178882" y="142267"/>
                  </a:moveTo>
                  <a:cubicBezTo>
                    <a:pt x="178882" y="142267"/>
                    <a:pt x="130613" y="130910"/>
                    <a:pt x="117835" y="112453"/>
                  </a:cubicBezTo>
                  <a:cubicBezTo>
                    <a:pt x="105058" y="93997"/>
                    <a:pt x="35493" y="4556"/>
                    <a:pt x="31233" y="297"/>
                  </a:cubicBezTo>
                  <a:cubicBezTo>
                    <a:pt x="26974" y="-2542"/>
                    <a:pt x="0" y="15914"/>
                    <a:pt x="0" y="15914"/>
                  </a:cubicBezTo>
                  <a:cubicBezTo>
                    <a:pt x="0" y="15914"/>
                    <a:pt x="41171" y="155045"/>
                    <a:pt x="88022" y="187698"/>
                  </a:cubicBezTo>
                  <a:lnTo>
                    <a:pt x="80923" y="196216"/>
                  </a:lnTo>
                  <a:cubicBezTo>
                    <a:pt x="80923" y="196216"/>
                    <a:pt x="105058" y="254424"/>
                    <a:pt x="110737" y="254424"/>
                  </a:cubicBezTo>
                  <a:cubicBezTo>
                    <a:pt x="116416" y="254424"/>
                    <a:pt x="168945" y="227449"/>
                    <a:pt x="183142" y="211833"/>
                  </a:cubicBezTo>
                  <a:cubicBezTo>
                    <a:pt x="197339" y="197636"/>
                    <a:pt x="178882" y="142267"/>
                    <a:pt x="178882" y="142267"/>
                  </a:cubicBezTo>
                  <a:close/>
                </a:path>
              </a:pathLst>
            </a:custGeom>
            <a:solidFill>
              <a:srgbClr val="452A2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FE1FCCCD-50C0-4E8A-9674-79F57E0D859A}"/>
                </a:ext>
              </a:extLst>
            </p:cNvPr>
            <p:cNvSpPr/>
            <p:nvPr userDrawn="1"/>
          </p:nvSpPr>
          <p:spPr>
            <a:xfrm>
              <a:off x="6816142" y="4071737"/>
              <a:ext cx="20532" cy="51330"/>
            </a:xfrm>
            <a:custGeom>
              <a:avLst/>
              <a:gdLst>
                <a:gd name="connsiteX0" fmla="*/ 28394 w 28394"/>
                <a:gd name="connsiteY0" fmla="*/ 0 h 70985"/>
                <a:gd name="connsiteX1" fmla="*/ 0 w 28394"/>
                <a:gd name="connsiteY1" fmla="*/ 1420 h 70985"/>
                <a:gd name="connsiteX2" fmla="*/ 4259 w 28394"/>
                <a:gd name="connsiteY2" fmla="*/ 72405 h 70985"/>
                <a:gd name="connsiteX3" fmla="*/ 34073 w 28394"/>
                <a:gd name="connsiteY3" fmla="*/ 75244 h 70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70985">
                  <a:moveTo>
                    <a:pt x="28394" y="0"/>
                  </a:moveTo>
                  <a:lnTo>
                    <a:pt x="0" y="1420"/>
                  </a:lnTo>
                  <a:lnTo>
                    <a:pt x="4259" y="72405"/>
                  </a:lnTo>
                  <a:lnTo>
                    <a:pt x="34073" y="75244"/>
                  </a:lnTo>
                  <a:close/>
                </a:path>
              </a:pathLst>
            </a:custGeom>
            <a:solidFill>
              <a:srgbClr val="0F151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BCF98E3C-9C0A-4059-8277-40D7BB3697E0}"/>
                </a:ext>
              </a:extLst>
            </p:cNvPr>
            <p:cNvSpPr/>
            <p:nvPr userDrawn="1"/>
          </p:nvSpPr>
          <p:spPr>
            <a:xfrm>
              <a:off x="6823328" y="3988582"/>
              <a:ext cx="759679" cy="143723"/>
            </a:xfrm>
            <a:custGeom>
              <a:avLst/>
              <a:gdLst>
                <a:gd name="connsiteX0" fmla="*/ 0 w 1050579"/>
                <a:gd name="connsiteY0" fmla="*/ 106478 h 198758"/>
                <a:gd name="connsiteX1" fmla="*/ 9938 w 1050579"/>
                <a:gd name="connsiteY1" fmla="*/ 207276 h 198758"/>
                <a:gd name="connsiteX2" fmla="*/ 364863 w 1050579"/>
                <a:gd name="connsiteY2" fmla="*/ 180302 h 198758"/>
                <a:gd name="connsiteX3" fmla="*/ 552264 w 1050579"/>
                <a:gd name="connsiteY3" fmla="*/ 168945 h 198758"/>
                <a:gd name="connsiteX4" fmla="*/ 908609 w 1050579"/>
                <a:gd name="connsiteY4" fmla="*/ 173204 h 198758"/>
                <a:gd name="connsiteX5" fmla="*/ 973916 w 1050579"/>
                <a:gd name="connsiteY5" fmla="*/ 173204 h 198758"/>
                <a:gd name="connsiteX6" fmla="*/ 973916 w 1050579"/>
                <a:gd name="connsiteY6" fmla="*/ 173204 h 198758"/>
                <a:gd name="connsiteX7" fmla="*/ 1047740 w 1050579"/>
                <a:gd name="connsiteY7" fmla="*/ 173204 h 198758"/>
                <a:gd name="connsiteX8" fmla="*/ 769478 w 1050579"/>
                <a:gd name="connsiteY8" fmla="*/ 0 h 198758"/>
                <a:gd name="connsiteX9" fmla="*/ 492637 w 1050579"/>
                <a:gd name="connsiteY9" fmla="*/ 51109 h 198758"/>
                <a:gd name="connsiteX10" fmla="*/ 208696 w 1050579"/>
                <a:gd name="connsiteY10" fmla="*/ 92281 h 198758"/>
                <a:gd name="connsiteX11" fmla="*/ 0 w 1050579"/>
                <a:gd name="connsiteY11" fmla="*/ 106478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0579" h="198758">
                  <a:moveTo>
                    <a:pt x="0" y="106478"/>
                  </a:moveTo>
                  <a:lnTo>
                    <a:pt x="9938" y="207276"/>
                  </a:lnTo>
                  <a:cubicBezTo>
                    <a:pt x="9938" y="207276"/>
                    <a:pt x="306656" y="184561"/>
                    <a:pt x="364863" y="180302"/>
                  </a:cubicBezTo>
                  <a:cubicBezTo>
                    <a:pt x="421651" y="177463"/>
                    <a:pt x="498315" y="166105"/>
                    <a:pt x="552264" y="168945"/>
                  </a:cubicBezTo>
                  <a:cubicBezTo>
                    <a:pt x="586337" y="170364"/>
                    <a:pt x="775157" y="171784"/>
                    <a:pt x="908609" y="173204"/>
                  </a:cubicBezTo>
                  <a:cubicBezTo>
                    <a:pt x="932744" y="173204"/>
                    <a:pt x="954040" y="173204"/>
                    <a:pt x="973916" y="173204"/>
                  </a:cubicBezTo>
                  <a:cubicBezTo>
                    <a:pt x="973916" y="173204"/>
                    <a:pt x="973916" y="173204"/>
                    <a:pt x="973916" y="173204"/>
                  </a:cubicBezTo>
                  <a:cubicBezTo>
                    <a:pt x="1016507" y="173204"/>
                    <a:pt x="1044901" y="173204"/>
                    <a:pt x="1047740" y="173204"/>
                  </a:cubicBezTo>
                  <a:cubicBezTo>
                    <a:pt x="1057678" y="171784"/>
                    <a:pt x="1140021" y="28394"/>
                    <a:pt x="769478" y="0"/>
                  </a:cubicBezTo>
                  <a:cubicBezTo>
                    <a:pt x="769478" y="0"/>
                    <a:pt x="535228" y="44011"/>
                    <a:pt x="492637" y="51109"/>
                  </a:cubicBezTo>
                  <a:cubicBezTo>
                    <a:pt x="450046" y="56788"/>
                    <a:pt x="256966" y="90861"/>
                    <a:pt x="208696" y="92281"/>
                  </a:cubicBezTo>
                  <a:cubicBezTo>
                    <a:pt x="157587" y="92281"/>
                    <a:pt x="0" y="106478"/>
                    <a:pt x="0" y="106478"/>
                  </a:cubicBezTo>
                  <a:close/>
                </a:path>
              </a:pathLst>
            </a:custGeom>
            <a:solidFill>
              <a:srgbClr val="995D3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5067A0F4-DF37-4C19-A2E1-F95C5C64BD3B}"/>
                </a:ext>
              </a:extLst>
            </p:cNvPr>
            <p:cNvSpPr/>
            <p:nvPr userDrawn="1"/>
          </p:nvSpPr>
          <p:spPr>
            <a:xfrm>
              <a:off x="7592247" y="3818168"/>
              <a:ext cx="174521" cy="20532"/>
            </a:xfrm>
            <a:custGeom>
              <a:avLst/>
              <a:gdLst>
                <a:gd name="connsiteX0" fmla="*/ 0 w 241349"/>
                <a:gd name="connsiteY0" fmla="*/ 38332 h 28394"/>
                <a:gd name="connsiteX1" fmla="*/ 249868 w 241349"/>
                <a:gd name="connsiteY1" fmla="*/ 38332 h 28394"/>
                <a:gd name="connsiteX2" fmla="*/ 237090 w 241349"/>
                <a:gd name="connsiteY2" fmla="*/ 8518 h 28394"/>
                <a:gd name="connsiteX3" fmla="*/ 234251 w 241349"/>
                <a:gd name="connsiteY3" fmla="*/ 0 h 28394"/>
                <a:gd name="connsiteX4" fmla="*/ 1420 w 241349"/>
                <a:gd name="connsiteY4" fmla="*/ 0 h 28394"/>
                <a:gd name="connsiteX5" fmla="*/ 0 w 241349"/>
                <a:gd name="connsiteY5" fmla="*/ 38332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349" h="28394">
                  <a:moveTo>
                    <a:pt x="0" y="38332"/>
                  </a:moveTo>
                  <a:lnTo>
                    <a:pt x="249868" y="38332"/>
                  </a:lnTo>
                  <a:cubicBezTo>
                    <a:pt x="242769" y="19876"/>
                    <a:pt x="237090" y="8518"/>
                    <a:pt x="237090" y="8518"/>
                  </a:cubicBezTo>
                  <a:cubicBezTo>
                    <a:pt x="235671" y="5679"/>
                    <a:pt x="235671" y="2839"/>
                    <a:pt x="234251" y="0"/>
                  </a:cubicBezTo>
                  <a:lnTo>
                    <a:pt x="1420" y="0"/>
                  </a:lnTo>
                  <a:lnTo>
                    <a:pt x="0" y="38332"/>
                  </a:lnTo>
                  <a:close/>
                </a:path>
              </a:pathLst>
            </a:custGeom>
            <a:solidFill>
              <a:srgbClr val="3C639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9415437B-6606-4EE7-B4EC-8994142C5578}"/>
                </a:ext>
              </a:extLst>
            </p:cNvPr>
            <p:cNvSpPr/>
            <p:nvPr userDrawn="1"/>
          </p:nvSpPr>
          <p:spPr>
            <a:xfrm>
              <a:off x="7409683" y="3602451"/>
              <a:ext cx="256649" cy="420903"/>
            </a:xfrm>
            <a:custGeom>
              <a:avLst/>
              <a:gdLst>
                <a:gd name="connsiteX0" fmla="*/ 106242 w 354925"/>
                <a:gd name="connsiteY0" fmla="*/ 28577 h 582077"/>
                <a:gd name="connsiteX1" fmla="*/ 5444 w 354925"/>
                <a:gd name="connsiteY1" fmla="*/ 79686 h 582077"/>
                <a:gd name="connsiteX2" fmla="*/ 16801 w 354925"/>
                <a:gd name="connsiteY2" fmla="*/ 294061 h 582077"/>
                <a:gd name="connsiteX3" fmla="*/ 15381 w 354925"/>
                <a:gd name="connsiteY3" fmla="*/ 485721 h 582077"/>
                <a:gd name="connsiteX4" fmla="*/ 317778 w 354925"/>
                <a:gd name="connsiteY4" fmla="*/ 592198 h 582077"/>
                <a:gd name="connsiteX5" fmla="*/ 346172 w 354925"/>
                <a:gd name="connsiteY5" fmla="*/ 379243 h 582077"/>
                <a:gd name="connsiteX6" fmla="*/ 356110 w 354925"/>
                <a:gd name="connsiteY6" fmla="*/ 177645 h 582077"/>
                <a:gd name="connsiteX7" fmla="*/ 366048 w 354925"/>
                <a:gd name="connsiteY7" fmla="*/ 41354 h 582077"/>
                <a:gd name="connsiteX8" fmla="*/ 209881 w 354925"/>
                <a:gd name="connsiteY8" fmla="*/ 183 h 582077"/>
                <a:gd name="connsiteX9" fmla="*/ 106242 w 354925"/>
                <a:gd name="connsiteY9" fmla="*/ 28577 h 582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4925" h="582077">
                  <a:moveTo>
                    <a:pt x="106242" y="28577"/>
                  </a:moveTo>
                  <a:cubicBezTo>
                    <a:pt x="106242" y="28577"/>
                    <a:pt x="22480" y="56971"/>
                    <a:pt x="5444" y="79686"/>
                  </a:cubicBezTo>
                  <a:cubicBezTo>
                    <a:pt x="-11593" y="100981"/>
                    <a:pt x="16801" y="294061"/>
                    <a:pt x="16801" y="294061"/>
                  </a:cubicBezTo>
                  <a:lnTo>
                    <a:pt x="15381" y="485721"/>
                  </a:lnTo>
                  <a:cubicBezTo>
                    <a:pt x="15381" y="485721"/>
                    <a:pt x="211300" y="586519"/>
                    <a:pt x="317778" y="592198"/>
                  </a:cubicBezTo>
                  <a:cubicBezTo>
                    <a:pt x="317778" y="592198"/>
                    <a:pt x="347592" y="444549"/>
                    <a:pt x="346172" y="379243"/>
                  </a:cubicBezTo>
                  <a:cubicBezTo>
                    <a:pt x="344752" y="313937"/>
                    <a:pt x="356110" y="177645"/>
                    <a:pt x="356110" y="177645"/>
                  </a:cubicBezTo>
                  <a:cubicBezTo>
                    <a:pt x="356110" y="177645"/>
                    <a:pt x="346172" y="72587"/>
                    <a:pt x="366048" y="41354"/>
                  </a:cubicBezTo>
                  <a:cubicBezTo>
                    <a:pt x="366048" y="41354"/>
                    <a:pt x="251052" y="1602"/>
                    <a:pt x="209881" y="183"/>
                  </a:cubicBezTo>
                  <a:cubicBezTo>
                    <a:pt x="170129" y="-2657"/>
                    <a:pt x="106242" y="28577"/>
                    <a:pt x="106242" y="28577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3FCC613F-15E7-48B7-B7D9-2A59482CEBC5}"/>
                </a:ext>
              </a:extLst>
            </p:cNvPr>
            <p:cNvSpPr/>
            <p:nvPr userDrawn="1"/>
          </p:nvSpPr>
          <p:spPr>
            <a:xfrm>
              <a:off x="7588140" y="3630301"/>
              <a:ext cx="215584" cy="266915"/>
            </a:xfrm>
            <a:custGeom>
              <a:avLst/>
              <a:gdLst>
                <a:gd name="connsiteX0" fmla="*/ 120675 w 298137"/>
                <a:gd name="connsiteY0" fmla="*/ 0 h 369122"/>
                <a:gd name="connsiteX1" fmla="*/ 184561 w 298137"/>
                <a:gd name="connsiteY1" fmla="*/ 69565 h 369122"/>
                <a:gd name="connsiteX2" fmla="*/ 300977 w 298137"/>
                <a:gd name="connsiteY2" fmla="*/ 271163 h 369122"/>
                <a:gd name="connsiteX3" fmla="*/ 235671 w 298137"/>
                <a:gd name="connsiteY3" fmla="*/ 318013 h 369122"/>
                <a:gd name="connsiteX4" fmla="*/ 28394 w 298137"/>
                <a:gd name="connsiteY4" fmla="*/ 376221 h 369122"/>
                <a:gd name="connsiteX5" fmla="*/ 0 w 298137"/>
                <a:gd name="connsiteY5" fmla="*/ 312334 h 369122"/>
                <a:gd name="connsiteX6" fmla="*/ 184561 w 298137"/>
                <a:gd name="connsiteY6" fmla="*/ 254127 h 369122"/>
                <a:gd name="connsiteX7" fmla="*/ 110737 w 298137"/>
                <a:gd name="connsiteY7" fmla="*/ 146229 h 369122"/>
                <a:gd name="connsiteX8" fmla="*/ 120675 w 298137"/>
                <a:gd name="connsiteY8" fmla="*/ 0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8137" h="369122">
                  <a:moveTo>
                    <a:pt x="120675" y="0"/>
                  </a:moveTo>
                  <a:cubicBezTo>
                    <a:pt x="120675" y="0"/>
                    <a:pt x="170364" y="48270"/>
                    <a:pt x="184561" y="69565"/>
                  </a:cubicBezTo>
                  <a:cubicBezTo>
                    <a:pt x="201598" y="93700"/>
                    <a:pt x="305236" y="254127"/>
                    <a:pt x="300977" y="271163"/>
                  </a:cubicBezTo>
                  <a:cubicBezTo>
                    <a:pt x="298137" y="289619"/>
                    <a:pt x="282521" y="303816"/>
                    <a:pt x="235671" y="318013"/>
                  </a:cubicBezTo>
                  <a:cubicBezTo>
                    <a:pt x="187401" y="330791"/>
                    <a:pt x="28394" y="376221"/>
                    <a:pt x="28394" y="376221"/>
                  </a:cubicBezTo>
                  <a:lnTo>
                    <a:pt x="0" y="312334"/>
                  </a:lnTo>
                  <a:cubicBezTo>
                    <a:pt x="0" y="312334"/>
                    <a:pt x="166105" y="266904"/>
                    <a:pt x="184561" y="254127"/>
                  </a:cubicBezTo>
                  <a:cubicBezTo>
                    <a:pt x="203017" y="242769"/>
                    <a:pt x="110737" y="146229"/>
                    <a:pt x="110737" y="146229"/>
                  </a:cubicBezTo>
                  <a:cubicBezTo>
                    <a:pt x="110737" y="146229"/>
                    <a:pt x="70985" y="28394"/>
                    <a:pt x="120675" y="0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82C29A4D-3448-4D2D-8A70-68942D18235A}"/>
                </a:ext>
              </a:extLst>
            </p:cNvPr>
            <p:cNvSpPr/>
            <p:nvPr userDrawn="1"/>
          </p:nvSpPr>
          <p:spPr>
            <a:xfrm>
              <a:off x="7327546" y="3660029"/>
              <a:ext cx="102659" cy="143723"/>
            </a:xfrm>
            <a:custGeom>
              <a:avLst/>
              <a:gdLst>
                <a:gd name="connsiteX0" fmla="*/ 119033 w 141970"/>
                <a:gd name="connsiteY0" fmla="*/ 60 h 198758"/>
                <a:gd name="connsiteX1" fmla="*/ 1197 w 141970"/>
                <a:gd name="connsiteY1" fmla="*/ 164745 h 198758"/>
                <a:gd name="connsiteX2" fmla="*/ 82120 w 141970"/>
                <a:gd name="connsiteY2" fmla="*/ 207336 h 198758"/>
                <a:gd name="connsiteX3" fmla="*/ 143168 w 141970"/>
                <a:gd name="connsiteY3" fmla="*/ 103698 h 198758"/>
                <a:gd name="connsiteX4" fmla="*/ 119033 w 141970"/>
                <a:gd name="connsiteY4" fmla="*/ 60 h 19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970" h="198758">
                  <a:moveTo>
                    <a:pt x="119033" y="60"/>
                  </a:moveTo>
                  <a:cubicBezTo>
                    <a:pt x="119033" y="60"/>
                    <a:pt x="13975" y="150548"/>
                    <a:pt x="1197" y="164745"/>
                  </a:cubicBezTo>
                  <a:cubicBezTo>
                    <a:pt x="-11580" y="178942"/>
                    <a:pt x="82120" y="207336"/>
                    <a:pt x="82120" y="207336"/>
                  </a:cubicBezTo>
                  <a:cubicBezTo>
                    <a:pt x="82120" y="207336"/>
                    <a:pt x="130390" y="110796"/>
                    <a:pt x="143168" y="103698"/>
                  </a:cubicBezTo>
                  <a:cubicBezTo>
                    <a:pt x="157365" y="96599"/>
                    <a:pt x="161624" y="-2780"/>
                    <a:pt x="119033" y="60"/>
                  </a:cubicBez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" name="任意多边形: 形状 131">
              <a:extLst>
                <a:ext uri="{FF2B5EF4-FFF2-40B4-BE49-F238E27FC236}">
                  <a16:creationId xmlns:a16="http://schemas.microsoft.com/office/drawing/2014/main" id="{DF525D87-7925-4382-A1B8-7CA40E5C0489}"/>
                </a:ext>
              </a:extLst>
            </p:cNvPr>
            <p:cNvSpPr/>
            <p:nvPr userDrawn="1"/>
          </p:nvSpPr>
          <p:spPr>
            <a:xfrm>
              <a:off x="7021460" y="3870374"/>
              <a:ext cx="615956" cy="287446"/>
            </a:xfrm>
            <a:custGeom>
              <a:avLst/>
              <a:gdLst>
                <a:gd name="connsiteX0" fmla="*/ 854661 w 851821"/>
                <a:gd name="connsiteY0" fmla="*/ 245816 h 397516"/>
                <a:gd name="connsiteX1" fmla="*/ 793613 w 851821"/>
                <a:gd name="connsiteY1" fmla="*/ 343775 h 397516"/>
                <a:gd name="connsiteX2" fmla="*/ 552264 w 851821"/>
                <a:gd name="connsiteY2" fmla="*/ 278469 h 397516"/>
                <a:gd name="connsiteX3" fmla="*/ 300977 w 851821"/>
                <a:gd name="connsiteY3" fmla="*/ 177670 h 397516"/>
                <a:gd name="connsiteX4" fmla="*/ 102219 w 851821"/>
                <a:gd name="connsiteY4" fmla="*/ 407662 h 397516"/>
                <a:gd name="connsiteX5" fmla="*/ 0 w 851821"/>
                <a:gd name="connsiteY5" fmla="*/ 360812 h 397516"/>
                <a:gd name="connsiteX6" fmla="*/ 198758 w 851821"/>
                <a:gd name="connsiteY6" fmla="*/ 79711 h 397516"/>
                <a:gd name="connsiteX7" fmla="*/ 283940 w 851821"/>
                <a:gd name="connsiteY7" fmla="*/ 208 h 397516"/>
                <a:gd name="connsiteX8" fmla="*/ 854661 w 851821"/>
                <a:gd name="connsiteY8" fmla="*/ 200386 h 397516"/>
                <a:gd name="connsiteX9" fmla="*/ 854661 w 851821"/>
                <a:gd name="connsiteY9" fmla="*/ 245816 h 397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1821" h="397516">
                  <a:moveTo>
                    <a:pt x="854661" y="245816"/>
                  </a:moveTo>
                  <a:cubicBezTo>
                    <a:pt x="854661" y="245816"/>
                    <a:pt x="861759" y="335257"/>
                    <a:pt x="793613" y="343775"/>
                  </a:cubicBezTo>
                  <a:cubicBezTo>
                    <a:pt x="725468" y="350874"/>
                    <a:pt x="650224" y="329578"/>
                    <a:pt x="552264" y="278469"/>
                  </a:cubicBezTo>
                  <a:cubicBezTo>
                    <a:pt x="454305" y="225940"/>
                    <a:pt x="323692" y="167732"/>
                    <a:pt x="300977" y="177670"/>
                  </a:cubicBezTo>
                  <a:cubicBezTo>
                    <a:pt x="278262" y="187608"/>
                    <a:pt x="102219" y="407662"/>
                    <a:pt x="102219" y="407662"/>
                  </a:cubicBezTo>
                  <a:lnTo>
                    <a:pt x="0" y="360812"/>
                  </a:lnTo>
                  <a:cubicBezTo>
                    <a:pt x="0" y="360812"/>
                    <a:pt x="190240" y="102426"/>
                    <a:pt x="198758" y="79711"/>
                  </a:cubicBezTo>
                  <a:cubicBezTo>
                    <a:pt x="207277" y="58415"/>
                    <a:pt x="244189" y="-4052"/>
                    <a:pt x="283940" y="208"/>
                  </a:cubicBezTo>
                  <a:cubicBezTo>
                    <a:pt x="322272" y="4467"/>
                    <a:pt x="854661" y="200386"/>
                    <a:pt x="854661" y="200386"/>
                  </a:cubicBezTo>
                  <a:lnTo>
                    <a:pt x="854661" y="245816"/>
                  </a:lnTo>
                  <a:close/>
                </a:path>
              </a:pathLst>
            </a:custGeom>
            <a:solidFill>
              <a:srgbClr val="A3633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" name="任意多边形: 形状 132">
              <a:extLst>
                <a:ext uri="{FF2B5EF4-FFF2-40B4-BE49-F238E27FC236}">
                  <a16:creationId xmlns:a16="http://schemas.microsoft.com/office/drawing/2014/main" id="{7354BE27-EC32-4B37-8800-50B4ADA19F7A}"/>
                </a:ext>
              </a:extLst>
            </p:cNvPr>
            <p:cNvSpPr/>
            <p:nvPr userDrawn="1"/>
          </p:nvSpPr>
          <p:spPr>
            <a:xfrm>
              <a:off x="7426085" y="3404463"/>
              <a:ext cx="133457" cy="195052"/>
            </a:xfrm>
            <a:custGeom>
              <a:avLst/>
              <a:gdLst>
                <a:gd name="connsiteX0" fmla="*/ 65104 w 184561"/>
                <a:gd name="connsiteY0" fmla="*/ 1403 h 269743"/>
                <a:gd name="connsiteX1" fmla="*/ 4057 w 184561"/>
                <a:gd name="connsiteY1" fmla="*/ 141953 h 269743"/>
                <a:gd name="connsiteX2" fmla="*/ 104855 w 184561"/>
                <a:gd name="connsiteY2" fmla="*/ 272566 h 269743"/>
                <a:gd name="connsiteX3" fmla="*/ 177260 w 184561"/>
                <a:gd name="connsiteY3" fmla="*/ 183125 h 269743"/>
                <a:gd name="connsiteX4" fmla="*/ 177260 w 184561"/>
                <a:gd name="connsiteY4" fmla="*/ 32636 h 269743"/>
                <a:gd name="connsiteX5" fmla="*/ 65104 w 184561"/>
                <a:gd name="connsiteY5" fmla="*/ 1403 h 26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4561" h="269743">
                  <a:moveTo>
                    <a:pt x="65104" y="1403"/>
                  </a:moveTo>
                  <a:cubicBezTo>
                    <a:pt x="26772" y="5662"/>
                    <a:pt x="-12980" y="55352"/>
                    <a:pt x="4057" y="141953"/>
                  </a:cubicBezTo>
                  <a:cubicBezTo>
                    <a:pt x="21093" y="228555"/>
                    <a:pt x="65104" y="276825"/>
                    <a:pt x="104855" y="272566"/>
                  </a:cubicBezTo>
                  <a:cubicBezTo>
                    <a:pt x="144607" y="266887"/>
                    <a:pt x="155965" y="232814"/>
                    <a:pt x="177260" y="183125"/>
                  </a:cubicBezTo>
                  <a:cubicBezTo>
                    <a:pt x="197136" y="133435"/>
                    <a:pt x="197136" y="46833"/>
                    <a:pt x="177260" y="32636"/>
                  </a:cubicBezTo>
                  <a:cubicBezTo>
                    <a:pt x="155965" y="15600"/>
                    <a:pt x="138928" y="-5696"/>
                    <a:pt x="65104" y="1403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" name="任意多边形: 形状 133">
              <a:extLst>
                <a:ext uri="{FF2B5EF4-FFF2-40B4-BE49-F238E27FC236}">
                  <a16:creationId xmlns:a16="http://schemas.microsoft.com/office/drawing/2014/main" id="{6DE5F0BF-E457-46C5-849A-45C045CED530}"/>
                </a:ext>
              </a:extLst>
            </p:cNvPr>
            <p:cNvSpPr/>
            <p:nvPr userDrawn="1"/>
          </p:nvSpPr>
          <p:spPr>
            <a:xfrm>
              <a:off x="7483427" y="3514034"/>
              <a:ext cx="71861" cy="123191"/>
            </a:xfrm>
            <a:custGeom>
              <a:avLst/>
              <a:gdLst>
                <a:gd name="connsiteX0" fmla="*/ 0 w 99379"/>
                <a:gd name="connsiteY0" fmla="*/ 106840 h 170364"/>
                <a:gd name="connsiteX1" fmla="*/ 8518 w 99379"/>
                <a:gd name="connsiteY1" fmla="*/ 166468 h 170364"/>
                <a:gd name="connsiteX2" fmla="*/ 109317 w 99379"/>
                <a:gd name="connsiteY2" fmla="*/ 140913 h 170364"/>
                <a:gd name="connsiteX3" fmla="*/ 106478 w 99379"/>
                <a:gd name="connsiteY3" fmla="*/ 10300 h 170364"/>
                <a:gd name="connsiteX4" fmla="*/ 0 w 99379"/>
                <a:gd name="connsiteY4" fmla="*/ 106840 h 17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79" h="170364">
                  <a:moveTo>
                    <a:pt x="0" y="106840"/>
                  </a:moveTo>
                  <a:cubicBezTo>
                    <a:pt x="0" y="106840"/>
                    <a:pt x="9938" y="145172"/>
                    <a:pt x="8518" y="166468"/>
                  </a:cubicBezTo>
                  <a:cubicBezTo>
                    <a:pt x="8518" y="166468"/>
                    <a:pt x="68146" y="192022"/>
                    <a:pt x="109317" y="140913"/>
                  </a:cubicBezTo>
                  <a:cubicBezTo>
                    <a:pt x="109317" y="140913"/>
                    <a:pt x="93700" y="59990"/>
                    <a:pt x="106478" y="10300"/>
                  </a:cubicBezTo>
                  <a:cubicBezTo>
                    <a:pt x="117835" y="-39389"/>
                    <a:pt x="0" y="106840"/>
                    <a:pt x="0" y="106840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" name="任意多边形: 形状 134">
              <a:extLst>
                <a:ext uri="{FF2B5EF4-FFF2-40B4-BE49-F238E27FC236}">
                  <a16:creationId xmlns:a16="http://schemas.microsoft.com/office/drawing/2014/main" id="{68E52F7C-44F4-4DCD-ABD1-0D4DF6C17555}"/>
                </a:ext>
              </a:extLst>
            </p:cNvPr>
            <p:cNvSpPr/>
            <p:nvPr userDrawn="1"/>
          </p:nvSpPr>
          <p:spPr>
            <a:xfrm>
              <a:off x="7423933" y="3401902"/>
              <a:ext cx="143723" cy="133457"/>
            </a:xfrm>
            <a:custGeom>
              <a:avLst/>
              <a:gdLst>
                <a:gd name="connsiteX0" fmla="*/ 2773 w 198758"/>
                <a:gd name="connsiteY0" fmla="*/ 141236 h 184561"/>
                <a:gd name="connsiteX1" fmla="*/ 83696 w 198758"/>
                <a:gd name="connsiteY1" fmla="*/ 110002 h 184561"/>
                <a:gd name="connsiteX2" fmla="*/ 130546 w 198758"/>
                <a:gd name="connsiteY2" fmla="*/ 144075 h 184561"/>
                <a:gd name="connsiteX3" fmla="*/ 147583 w 198758"/>
                <a:gd name="connsiteY3" fmla="*/ 151174 h 184561"/>
                <a:gd name="connsiteX4" fmla="*/ 183075 w 198758"/>
                <a:gd name="connsiteY4" fmla="*/ 185246 h 184561"/>
                <a:gd name="connsiteX5" fmla="*/ 204371 w 198758"/>
                <a:gd name="connsiteY5" fmla="*/ 74510 h 184561"/>
                <a:gd name="connsiteX6" fmla="*/ 73758 w 198758"/>
                <a:gd name="connsiteY6" fmla="*/ 685 h 184561"/>
                <a:gd name="connsiteX7" fmla="*/ 2773 w 198758"/>
                <a:gd name="connsiteY7" fmla="*/ 141236 h 184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8758" h="184561">
                  <a:moveTo>
                    <a:pt x="2773" y="141236"/>
                  </a:moveTo>
                  <a:cubicBezTo>
                    <a:pt x="2773" y="141236"/>
                    <a:pt x="56722" y="114261"/>
                    <a:pt x="83696" y="110002"/>
                  </a:cubicBezTo>
                  <a:cubicBezTo>
                    <a:pt x="112090" y="105743"/>
                    <a:pt x="137645" y="117101"/>
                    <a:pt x="130546" y="144075"/>
                  </a:cubicBezTo>
                  <a:lnTo>
                    <a:pt x="147583" y="151174"/>
                  </a:lnTo>
                  <a:cubicBezTo>
                    <a:pt x="147583" y="151174"/>
                    <a:pt x="178816" y="166790"/>
                    <a:pt x="183075" y="185246"/>
                  </a:cubicBezTo>
                  <a:cubicBezTo>
                    <a:pt x="183075" y="185246"/>
                    <a:pt x="202951" y="102904"/>
                    <a:pt x="204371" y="74510"/>
                  </a:cubicBezTo>
                  <a:cubicBezTo>
                    <a:pt x="205791" y="43276"/>
                    <a:pt x="173137" y="-6413"/>
                    <a:pt x="73758" y="685"/>
                  </a:cubicBezTo>
                  <a:cubicBezTo>
                    <a:pt x="-24201" y="4944"/>
                    <a:pt x="4193" y="128458"/>
                    <a:pt x="2773" y="141236"/>
                  </a:cubicBezTo>
                  <a:close/>
                </a:path>
              </a:pathLst>
            </a:custGeom>
            <a:solidFill>
              <a:srgbClr val="283B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" name="任意多边形: 形状 135">
              <a:extLst>
                <a:ext uri="{FF2B5EF4-FFF2-40B4-BE49-F238E27FC236}">
                  <a16:creationId xmlns:a16="http://schemas.microsoft.com/office/drawing/2014/main" id="{86380B97-4FC7-45B9-ADC0-6F7F9B67EF50}"/>
                </a:ext>
              </a:extLst>
            </p:cNvPr>
            <p:cNvSpPr/>
            <p:nvPr userDrawn="1"/>
          </p:nvSpPr>
          <p:spPr>
            <a:xfrm>
              <a:off x="7525676" y="3482966"/>
              <a:ext cx="20532" cy="41064"/>
            </a:xfrm>
            <a:custGeom>
              <a:avLst/>
              <a:gdLst>
                <a:gd name="connsiteX0" fmla="*/ 2621 w 28394"/>
                <a:gd name="connsiteY0" fmla="*/ 19192 h 56788"/>
                <a:gd name="connsiteX1" fmla="*/ 32435 w 28394"/>
                <a:gd name="connsiteY1" fmla="*/ 7835 h 56788"/>
                <a:gd name="connsiteX2" fmla="*/ 9719 w 28394"/>
                <a:gd name="connsiteY2" fmla="*/ 57524 h 56788"/>
                <a:gd name="connsiteX3" fmla="*/ 2621 w 28394"/>
                <a:gd name="connsiteY3" fmla="*/ 19192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621" y="19192"/>
                  </a:moveTo>
                  <a:cubicBezTo>
                    <a:pt x="5460" y="7835"/>
                    <a:pt x="22497" y="-10621"/>
                    <a:pt x="32435" y="7835"/>
                  </a:cubicBezTo>
                  <a:cubicBezTo>
                    <a:pt x="42373" y="26291"/>
                    <a:pt x="21077" y="57524"/>
                    <a:pt x="9719" y="57524"/>
                  </a:cubicBezTo>
                  <a:cubicBezTo>
                    <a:pt x="-1638" y="57524"/>
                    <a:pt x="-1638" y="34809"/>
                    <a:pt x="2621" y="19192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" name="任意多边形: 形状 136">
              <a:extLst>
                <a:ext uri="{FF2B5EF4-FFF2-40B4-BE49-F238E27FC236}">
                  <a16:creationId xmlns:a16="http://schemas.microsoft.com/office/drawing/2014/main" id="{95F56CF8-1250-4CF6-8033-5FF8C9714611}"/>
                </a:ext>
              </a:extLst>
            </p:cNvPr>
            <p:cNvSpPr/>
            <p:nvPr userDrawn="1"/>
          </p:nvSpPr>
          <p:spPr>
            <a:xfrm>
              <a:off x="7340731" y="3716605"/>
              <a:ext cx="420903" cy="328510"/>
            </a:xfrm>
            <a:custGeom>
              <a:avLst/>
              <a:gdLst>
                <a:gd name="connsiteX0" fmla="*/ 15617 w 582077"/>
                <a:gd name="connsiteY0" fmla="*/ 68049 h 454304"/>
                <a:gd name="connsiteX1" fmla="*/ 173204 w 582077"/>
                <a:gd name="connsiteY1" fmla="*/ 28297 h 454304"/>
                <a:gd name="connsiteX2" fmla="*/ 454305 w 582077"/>
                <a:gd name="connsiteY2" fmla="*/ 70888 h 454304"/>
                <a:gd name="connsiteX3" fmla="*/ 572140 w 582077"/>
                <a:gd name="connsiteY3" fmla="*/ 337792 h 454304"/>
                <a:gd name="connsiteX4" fmla="*/ 570720 w 582077"/>
                <a:gd name="connsiteY4" fmla="*/ 342051 h 454304"/>
                <a:gd name="connsiteX5" fmla="*/ 549425 w 582077"/>
                <a:gd name="connsiteY5" fmla="*/ 381803 h 454304"/>
                <a:gd name="connsiteX6" fmla="*/ 299557 w 582077"/>
                <a:gd name="connsiteY6" fmla="*/ 451368 h 454304"/>
                <a:gd name="connsiteX7" fmla="*/ 69565 w 582077"/>
                <a:gd name="connsiteY7" fmla="*/ 282424 h 454304"/>
                <a:gd name="connsiteX8" fmla="*/ 89441 w 582077"/>
                <a:gd name="connsiteY8" fmla="*/ 166008 h 454304"/>
                <a:gd name="connsiteX9" fmla="*/ 0 w 582077"/>
                <a:gd name="connsiteY9" fmla="*/ 102122 h 454304"/>
                <a:gd name="connsiteX10" fmla="*/ 15617 w 582077"/>
                <a:gd name="connsiteY10" fmla="*/ 68049 h 454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2077" h="454304">
                  <a:moveTo>
                    <a:pt x="15617" y="68049"/>
                  </a:moveTo>
                  <a:cubicBezTo>
                    <a:pt x="38332" y="25458"/>
                    <a:pt x="89441" y="-37009"/>
                    <a:pt x="173204" y="28297"/>
                  </a:cubicBezTo>
                  <a:cubicBezTo>
                    <a:pt x="292459" y="119158"/>
                    <a:pt x="305236" y="11261"/>
                    <a:pt x="454305" y="70888"/>
                  </a:cubicBezTo>
                  <a:cubicBezTo>
                    <a:pt x="559363" y="112060"/>
                    <a:pt x="618990" y="224216"/>
                    <a:pt x="572140" y="337792"/>
                  </a:cubicBezTo>
                  <a:lnTo>
                    <a:pt x="570720" y="342051"/>
                  </a:lnTo>
                  <a:cubicBezTo>
                    <a:pt x="565041" y="356248"/>
                    <a:pt x="557943" y="369026"/>
                    <a:pt x="549425" y="381803"/>
                  </a:cubicBezTo>
                  <a:cubicBezTo>
                    <a:pt x="494056" y="464146"/>
                    <a:pt x="391838" y="488281"/>
                    <a:pt x="299557" y="451368"/>
                  </a:cubicBezTo>
                  <a:cubicBezTo>
                    <a:pt x="150488" y="393161"/>
                    <a:pt x="185981" y="298041"/>
                    <a:pt x="69565" y="282424"/>
                  </a:cubicBezTo>
                  <a:cubicBezTo>
                    <a:pt x="-61047" y="265387"/>
                    <a:pt x="89441" y="166008"/>
                    <a:pt x="89441" y="166008"/>
                  </a:cubicBezTo>
                  <a:lnTo>
                    <a:pt x="0" y="102122"/>
                  </a:lnTo>
                  <a:cubicBezTo>
                    <a:pt x="1420" y="100702"/>
                    <a:pt x="7099" y="86505"/>
                    <a:pt x="15617" y="68049"/>
                  </a:cubicBezTo>
                  <a:close/>
                </a:path>
              </a:pathLst>
            </a:custGeom>
            <a:solidFill>
              <a:srgbClr val="FCBC7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" name="任意多边形: 形状 137">
              <a:extLst>
                <a:ext uri="{FF2B5EF4-FFF2-40B4-BE49-F238E27FC236}">
                  <a16:creationId xmlns:a16="http://schemas.microsoft.com/office/drawing/2014/main" id="{27A8F782-BA09-40E1-8534-68B88AA40D49}"/>
                </a:ext>
              </a:extLst>
            </p:cNvPr>
            <p:cNvSpPr/>
            <p:nvPr userDrawn="1"/>
          </p:nvSpPr>
          <p:spPr>
            <a:xfrm>
              <a:off x="7336625" y="3710706"/>
              <a:ext cx="431169" cy="338776"/>
            </a:xfrm>
            <a:custGeom>
              <a:avLst/>
              <a:gdLst>
                <a:gd name="connsiteX0" fmla="*/ 2839 w 596274"/>
                <a:gd name="connsiteY0" fmla="*/ 100342 h 468501"/>
                <a:gd name="connsiteX1" fmla="*/ 1420 w 596274"/>
                <a:gd name="connsiteY1" fmla="*/ 106021 h 468501"/>
                <a:gd name="connsiteX2" fmla="*/ 0 w 596274"/>
                <a:gd name="connsiteY2" fmla="*/ 110280 h 468501"/>
                <a:gd name="connsiteX3" fmla="*/ 85182 w 596274"/>
                <a:gd name="connsiteY3" fmla="*/ 171327 h 468501"/>
                <a:gd name="connsiteX4" fmla="*/ 18456 w 596274"/>
                <a:gd name="connsiteY4" fmla="*/ 263608 h 468501"/>
                <a:gd name="connsiteX5" fmla="*/ 78084 w 596274"/>
                <a:gd name="connsiteY5" fmla="*/ 296261 h 468501"/>
                <a:gd name="connsiteX6" fmla="*/ 174623 w 596274"/>
                <a:gd name="connsiteY6" fmla="*/ 361568 h 468501"/>
                <a:gd name="connsiteX7" fmla="*/ 306656 w 596274"/>
                <a:gd name="connsiteY7" fmla="*/ 465206 h 468501"/>
                <a:gd name="connsiteX8" fmla="*/ 565041 w 596274"/>
                <a:gd name="connsiteY8" fmla="*/ 392801 h 468501"/>
                <a:gd name="connsiteX9" fmla="*/ 583498 w 596274"/>
                <a:gd name="connsiteY9" fmla="*/ 357308 h 468501"/>
                <a:gd name="connsiteX10" fmla="*/ 586337 w 596274"/>
                <a:gd name="connsiteY10" fmla="*/ 351630 h 468501"/>
                <a:gd name="connsiteX11" fmla="*/ 587757 w 596274"/>
                <a:gd name="connsiteY11" fmla="*/ 347371 h 468501"/>
                <a:gd name="connsiteX12" fmla="*/ 584917 w 596274"/>
                <a:gd name="connsiteY12" fmla="*/ 181265 h 468501"/>
                <a:gd name="connsiteX13" fmla="*/ 464243 w 596274"/>
                <a:gd name="connsiteY13" fmla="*/ 70529 h 468501"/>
                <a:gd name="connsiteX14" fmla="*/ 313754 w 596274"/>
                <a:gd name="connsiteY14" fmla="*/ 59171 h 468501"/>
                <a:gd name="connsiteX15" fmla="*/ 184561 w 596274"/>
                <a:gd name="connsiteY15" fmla="*/ 29357 h 468501"/>
                <a:gd name="connsiteX16" fmla="*/ 96540 w 596274"/>
                <a:gd name="connsiteY16" fmla="*/ 963 h 468501"/>
                <a:gd name="connsiteX17" fmla="*/ 14197 w 596274"/>
                <a:gd name="connsiteY17" fmla="*/ 71948 h 468501"/>
                <a:gd name="connsiteX18" fmla="*/ 2839 w 596274"/>
                <a:gd name="connsiteY18" fmla="*/ 100342 h 468501"/>
                <a:gd name="connsiteX19" fmla="*/ 51109 w 596274"/>
                <a:gd name="connsiteY19" fmla="*/ 131576 h 468501"/>
                <a:gd name="connsiteX20" fmla="*/ 15617 w 596274"/>
                <a:gd name="connsiteY20" fmla="*/ 106021 h 468501"/>
                <a:gd name="connsiteX21" fmla="*/ 17036 w 596274"/>
                <a:gd name="connsiteY21" fmla="*/ 101762 h 468501"/>
                <a:gd name="connsiteX22" fmla="*/ 26974 w 596274"/>
                <a:gd name="connsiteY22" fmla="*/ 79047 h 468501"/>
                <a:gd name="connsiteX23" fmla="*/ 99379 w 596274"/>
                <a:gd name="connsiteY23" fmla="*/ 15160 h 468501"/>
                <a:gd name="connsiteX24" fmla="*/ 174623 w 596274"/>
                <a:gd name="connsiteY24" fmla="*/ 40715 h 468501"/>
                <a:gd name="connsiteX25" fmla="*/ 318013 w 596274"/>
                <a:gd name="connsiteY25" fmla="*/ 73368 h 468501"/>
                <a:gd name="connsiteX26" fmla="*/ 458564 w 596274"/>
                <a:gd name="connsiteY26" fmla="*/ 83306 h 468501"/>
                <a:gd name="connsiteX27" fmla="*/ 572140 w 596274"/>
                <a:gd name="connsiteY27" fmla="*/ 341692 h 468501"/>
                <a:gd name="connsiteX28" fmla="*/ 570720 w 596274"/>
                <a:gd name="connsiteY28" fmla="*/ 345951 h 468501"/>
                <a:gd name="connsiteX29" fmla="*/ 569301 w 596274"/>
                <a:gd name="connsiteY29" fmla="*/ 348790 h 468501"/>
                <a:gd name="connsiteX30" fmla="*/ 549425 w 596274"/>
                <a:gd name="connsiteY30" fmla="*/ 384283 h 468501"/>
                <a:gd name="connsiteX31" fmla="*/ 309495 w 596274"/>
                <a:gd name="connsiteY31" fmla="*/ 451009 h 468501"/>
                <a:gd name="connsiteX32" fmla="*/ 184561 w 596274"/>
                <a:gd name="connsiteY32" fmla="*/ 353049 h 468501"/>
                <a:gd name="connsiteX33" fmla="*/ 76664 w 596274"/>
                <a:gd name="connsiteY33" fmla="*/ 282064 h 468501"/>
                <a:gd name="connsiteX34" fmla="*/ 29814 w 596274"/>
                <a:gd name="connsiteY34" fmla="*/ 260769 h 468501"/>
                <a:gd name="connsiteX35" fmla="*/ 99379 w 596274"/>
                <a:gd name="connsiteY35" fmla="*/ 178426 h 468501"/>
                <a:gd name="connsiteX36" fmla="*/ 107897 w 596274"/>
                <a:gd name="connsiteY36" fmla="*/ 172747 h 468501"/>
                <a:gd name="connsiteX37" fmla="*/ 51109 w 596274"/>
                <a:gd name="connsiteY37" fmla="*/ 131576 h 46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96274" h="468501">
                  <a:moveTo>
                    <a:pt x="2839" y="100342"/>
                  </a:moveTo>
                  <a:cubicBezTo>
                    <a:pt x="1420" y="103182"/>
                    <a:pt x="1420" y="106021"/>
                    <a:pt x="1420" y="106021"/>
                  </a:cubicBezTo>
                  <a:lnTo>
                    <a:pt x="0" y="110280"/>
                  </a:lnTo>
                  <a:lnTo>
                    <a:pt x="85182" y="171327"/>
                  </a:lnTo>
                  <a:cubicBezTo>
                    <a:pt x="62467" y="186944"/>
                    <a:pt x="8518" y="229535"/>
                    <a:pt x="18456" y="263608"/>
                  </a:cubicBezTo>
                  <a:cubicBezTo>
                    <a:pt x="24135" y="280644"/>
                    <a:pt x="44011" y="290582"/>
                    <a:pt x="78084" y="296261"/>
                  </a:cubicBezTo>
                  <a:cubicBezTo>
                    <a:pt x="132032" y="303360"/>
                    <a:pt x="151908" y="328914"/>
                    <a:pt x="174623" y="361568"/>
                  </a:cubicBezTo>
                  <a:cubicBezTo>
                    <a:pt x="198758" y="394221"/>
                    <a:pt x="228572" y="435392"/>
                    <a:pt x="306656" y="465206"/>
                  </a:cubicBezTo>
                  <a:cubicBezTo>
                    <a:pt x="406035" y="504957"/>
                    <a:pt x="509673" y="475144"/>
                    <a:pt x="565041" y="392801"/>
                  </a:cubicBezTo>
                  <a:cubicBezTo>
                    <a:pt x="572140" y="381443"/>
                    <a:pt x="579238" y="370086"/>
                    <a:pt x="583498" y="357308"/>
                  </a:cubicBezTo>
                  <a:cubicBezTo>
                    <a:pt x="584917" y="355889"/>
                    <a:pt x="584917" y="353049"/>
                    <a:pt x="586337" y="351630"/>
                  </a:cubicBezTo>
                  <a:lnTo>
                    <a:pt x="587757" y="347371"/>
                  </a:lnTo>
                  <a:cubicBezTo>
                    <a:pt x="610472" y="292002"/>
                    <a:pt x="609052" y="232375"/>
                    <a:pt x="584917" y="181265"/>
                  </a:cubicBezTo>
                  <a:cubicBezTo>
                    <a:pt x="562202" y="131576"/>
                    <a:pt x="519611" y="91824"/>
                    <a:pt x="464243" y="70529"/>
                  </a:cubicBezTo>
                  <a:cubicBezTo>
                    <a:pt x="391838" y="42135"/>
                    <a:pt x="350666" y="52072"/>
                    <a:pt x="313754" y="59171"/>
                  </a:cubicBezTo>
                  <a:cubicBezTo>
                    <a:pt x="275422" y="67689"/>
                    <a:pt x="244189" y="74788"/>
                    <a:pt x="184561" y="29357"/>
                  </a:cubicBezTo>
                  <a:cubicBezTo>
                    <a:pt x="153328" y="6642"/>
                    <a:pt x="124934" y="-3296"/>
                    <a:pt x="96540" y="963"/>
                  </a:cubicBezTo>
                  <a:cubicBezTo>
                    <a:pt x="56788" y="8062"/>
                    <a:pt x="29814" y="43554"/>
                    <a:pt x="14197" y="71948"/>
                  </a:cubicBezTo>
                  <a:cubicBezTo>
                    <a:pt x="8518" y="84726"/>
                    <a:pt x="4259" y="94663"/>
                    <a:pt x="2839" y="100342"/>
                  </a:cubicBezTo>
                  <a:close/>
                  <a:moveTo>
                    <a:pt x="51109" y="131576"/>
                  </a:moveTo>
                  <a:lnTo>
                    <a:pt x="15617" y="106021"/>
                  </a:lnTo>
                  <a:cubicBezTo>
                    <a:pt x="15617" y="104601"/>
                    <a:pt x="17036" y="103182"/>
                    <a:pt x="17036" y="101762"/>
                  </a:cubicBezTo>
                  <a:cubicBezTo>
                    <a:pt x="19876" y="96083"/>
                    <a:pt x="22715" y="87565"/>
                    <a:pt x="26974" y="79047"/>
                  </a:cubicBezTo>
                  <a:cubicBezTo>
                    <a:pt x="41171" y="53492"/>
                    <a:pt x="65306" y="20839"/>
                    <a:pt x="99379" y="15160"/>
                  </a:cubicBezTo>
                  <a:cubicBezTo>
                    <a:pt x="122094" y="10901"/>
                    <a:pt x="147649" y="19419"/>
                    <a:pt x="174623" y="40715"/>
                  </a:cubicBezTo>
                  <a:cubicBezTo>
                    <a:pt x="241349" y="91824"/>
                    <a:pt x="278262" y="83306"/>
                    <a:pt x="318013" y="73368"/>
                  </a:cubicBezTo>
                  <a:cubicBezTo>
                    <a:pt x="352086" y="64850"/>
                    <a:pt x="390418" y="56332"/>
                    <a:pt x="458564" y="83306"/>
                  </a:cubicBezTo>
                  <a:cubicBezTo>
                    <a:pt x="565041" y="125897"/>
                    <a:pt x="614731" y="236634"/>
                    <a:pt x="572140" y="341692"/>
                  </a:cubicBezTo>
                  <a:lnTo>
                    <a:pt x="570720" y="345951"/>
                  </a:lnTo>
                  <a:cubicBezTo>
                    <a:pt x="570720" y="347371"/>
                    <a:pt x="570720" y="347371"/>
                    <a:pt x="569301" y="348790"/>
                  </a:cubicBezTo>
                  <a:cubicBezTo>
                    <a:pt x="563622" y="361568"/>
                    <a:pt x="557943" y="374345"/>
                    <a:pt x="549425" y="384283"/>
                  </a:cubicBezTo>
                  <a:cubicBezTo>
                    <a:pt x="498315" y="460947"/>
                    <a:pt x="401776" y="487921"/>
                    <a:pt x="309495" y="451009"/>
                  </a:cubicBezTo>
                  <a:cubicBezTo>
                    <a:pt x="237090" y="422615"/>
                    <a:pt x="208696" y="385702"/>
                    <a:pt x="184561" y="353049"/>
                  </a:cubicBezTo>
                  <a:cubicBezTo>
                    <a:pt x="159007" y="318976"/>
                    <a:pt x="137711" y="290582"/>
                    <a:pt x="76664" y="282064"/>
                  </a:cubicBezTo>
                  <a:cubicBezTo>
                    <a:pt x="58208" y="279225"/>
                    <a:pt x="34073" y="273546"/>
                    <a:pt x="29814" y="260769"/>
                  </a:cubicBezTo>
                  <a:cubicBezTo>
                    <a:pt x="22715" y="238053"/>
                    <a:pt x="69565" y="198302"/>
                    <a:pt x="99379" y="178426"/>
                  </a:cubicBezTo>
                  <a:lnTo>
                    <a:pt x="107897" y="172747"/>
                  </a:lnTo>
                  <a:lnTo>
                    <a:pt x="51109" y="131576"/>
                  </a:lnTo>
                  <a:close/>
                </a:path>
              </a:pathLst>
            </a:custGeom>
            <a:solidFill>
              <a:srgbClr val="E0A76C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" name="任意多边形: 形状 138">
              <a:extLst>
                <a:ext uri="{FF2B5EF4-FFF2-40B4-BE49-F238E27FC236}">
                  <a16:creationId xmlns:a16="http://schemas.microsoft.com/office/drawing/2014/main" id="{7DAFBD11-14C4-4494-9C8D-E52C9C4FF1F0}"/>
                </a:ext>
              </a:extLst>
            </p:cNvPr>
            <p:cNvSpPr/>
            <p:nvPr userDrawn="1"/>
          </p:nvSpPr>
          <p:spPr>
            <a:xfrm>
              <a:off x="7626124" y="3857178"/>
              <a:ext cx="61596" cy="123191"/>
            </a:xfrm>
            <a:custGeom>
              <a:avLst/>
              <a:gdLst>
                <a:gd name="connsiteX0" fmla="*/ 14197 w 85182"/>
                <a:gd name="connsiteY0" fmla="*/ 134872 h 170364"/>
                <a:gd name="connsiteX1" fmla="*/ 69565 w 85182"/>
                <a:gd name="connsiteY1" fmla="*/ 0 h 170364"/>
                <a:gd name="connsiteX2" fmla="*/ 93700 w 85182"/>
                <a:gd name="connsiteY2" fmla="*/ 9938 h 170364"/>
                <a:gd name="connsiteX3" fmla="*/ 86602 w 85182"/>
                <a:gd name="connsiteY3" fmla="*/ 29814 h 170364"/>
                <a:gd name="connsiteX4" fmla="*/ 92281 w 85182"/>
                <a:gd name="connsiteY4" fmla="*/ 32653 h 170364"/>
                <a:gd name="connsiteX5" fmla="*/ 51109 w 85182"/>
                <a:gd name="connsiteY5" fmla="*/ 133452 h 170364"/>
                <a:gd name="connsiteX6" fmla="*/ 51109 w 85182"/>
                <a:gd name="connsiteY6" fmla="*/ 133452 h 170364"/>
                <a:gd name="connsiteX7" fmla="*/ 39752 w 85182"/>
                <a:gd name="connsiteY7" fmla="*/ 163266 h 170364"/>
                <a:gd name="connsiteX8" fmla="*/ 34073 w 85182"/>
                <a:gd name="connsiteY8" fmla="*/ 160426 h 170364"/>
                <a:gd name="connsiteX9" fmla="*/ 25555 w 85182"/>
                <a:gd name="connsiteY9" fmla="*/ 180302 h 170364"/>
                <a:gd name="connsiteX10" fmla="*/ 0 w 85182"/>
                <a:gd name="connsiteY10" fmla="*/ 170364 h 17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182" h="170364">
                  <a:moveTo>
                    <a:pt x="14197" y="134872"/>
                  </a:moveTo>
                  <a:lnTo>
                    <a:pt x="69565" y="0"/>
                  </a:lnTo>
                  <a:lnTo>
                    <a:pt x="93700" y="9938"/>
                  </a:lnTo>
                  <a:lnTo>
                    <a:pt x="86602" y="29814"/>
                  </a:lnTo>
                  <a:lnTo>
                    <a:pt x="92281" y="32653"/>
                  </a:lnTo>
                  <a:lnTo>
                    <a:pt x="51109" y="133452"/>
                  </a:lnTo>
                  <a:lnTo>
                    <a:pt x="51109" y="133452"/>
                  </a:lnTo>
                  <a:lnTo>
                    <a:pt x="39752" y="163266"/>
                  </a:lnTo>
                  <a:lnTo>
                    <a:pt x="34073" y="160426"/>
                  </a:lnTo>
                  <a:lnTo>
                    <a:pt x="25555" y="180302"/>
                  </a:lnTo>
                  <a:lnTo>
                    <a:pt x="0" y="170364"/>
                  </a:lnTo>
                  <a:close/>
                </a:path>
              </a:pathLst>
            </a:custGeom>
            <a:solidFill>
              <a:srgbClr val="56361B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" name="任意多边形: 形状 139">
              <a:extLst>
                <a:ext uri="{FF2B5EF4-FFF2-40B4-BE49-F238E27FC236}">
                  <a16:creationId xmlns:a16="http://schemas.microsoft.com/office/drawing/2014/main" id="{14343FA0-085B-4A39-B25A-A51B522E1141}"/>
                </a:ext>
              </a:extLst>
            </p:cNvPr>
            <p:cNvSpPr/>
            <p:nvPr userDrawn="1"/>
          </p:nvSpPr>
          <p:spPr>
            <a:xfrm>
              <a:off x="6973210" y="3612849"/>
              <a:ext cx="10266" cy="10266"/>
            </a:xfrm>
            <a:custGeom>
              <a:avLst/>
              <a:gdLst>
                <a:gd name="connsiteX0" fmla="*/ 4259 w 14197"/>
                <a:gd name="connsiteY0" fmla="*/ 25555 h 14197"/>
                <a:gd name="connsiteX1" fmla="*/ 7099 w 14197"/>
                <a:gd name="connsiteY1" fmla="*/ 17036 h 14197"/>
                <a:gd name="connsiteX2" fmla="*/ 7099 w 14197"/>
                <a:gd name="connsiteY2" fmla="*/ 17036 h 14197"/>
                <a:gd name="connsiteX3" fmla="*/ 0 w 14197"/>
                <a:gd name="connsiteY3" fmla="*/ 9938 h 14197"/>
                <a:gd name="connsiteX4" fmla="*/ 4259 w 14197"/>
                <a:gd name="connsiteY4" fmla="*/ 0 h 14197"/>
                <a:gd name="connsiteX5" fmla="*/ 15617 w 14197"/>
                <a:gd name="connsiteY5" fmla="*/ 0 h 14197"/>
                <a:gd name="connsiteX6" fmla="*/ 24135 w 14197"/>
                <a:gd name="connsiteY6" fmla="*/ 7099 h 14197"/>
                <a:gd name="connsiteX7" fmla="*/ 19876 w 14197"/>
                <a:gd name="connsiteY7" fmla="*/ 18456 h 14197"/>
                <a:gd name="connsiteX8" fmla="*/ 9938 w 14197"/>
                <a:gd name="connsiteY8" fmla="*/ 17036 h 14197"/>
                <a:gd name="connsiteX9" fmla="*/ 5679 w 14197"/>
                <a:gd name="connsiteY9" fmla="*/ 26974 h 14197"/>
                <a:gd name="connsiteX10" fmla="*/ 5679 w 14197"/>
                <a:gd name="connsiteY10" fmla="*/ 26974 h 14197"/>
                <a:gd name="connsiteX11" fmla="*/ 5679 w 14197"/>
                <a:gd name="connsiteY11" fmla="*/ 26974 h 14197"/>
                <a:gd name="connsiteX12" fmla="*/ 4259 w 14197"/>
                <a:gd name="connsiteY12" fmla="*/ 25555 h 14197"/>
                <a:gd name="connsiteX13" fmla="*/ 4259 w 14197"/>
                <a:gd name="connsiteY13" fmla="*/ 25555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197" h="14197">
                  <a:moveTo>
                    <a:pt x="4259" y="25555"/>
                  </a:moveTo>
                  <a:lnTo>
                    <a:pt x="7099" y="17036"/>
                  </a:lnTo>
                  <a:lnTo>
                    <a:pt x="7099" y="17036"/>
                  </a:lnTo>
                  <a:lnTo>
                    <a:pt x="0" y="9938"/>
                  </a:lnTo>
                  <a:lnTo>
                    <a:pt x="4259" y="0"/>
                  </a:lnTo>
                  <a:lnTo>
                    <a:pt x="15617" y="0"/>
                  </a:lnTo>
                  <a:lnTo>
                    <a:pt x="24135" y="7099"/>
                  </a:lnTo>
                  <a:lnTo>
                    <a:pt x="19876" y="18456"/>
                  </a:lnTo>
                  <a:lnTo>
                    <a:pt x="9938" y="17036"/>
                  </a:lnTo>
                  <a:lnTo>
                    <a:pt x="5679" y="26974"/>
                  </a:lnTo>
                  <a:lnTo>
                    <a:pt x="5679" y="26974"/>
                  </a:lnTo>
                  <a:lnTo>
                    <a:pt x="5679" y="26974"/>
                  </a:lnTo>
                  <a:lnTo>
                    <a:pt x="4259" y="25555"/>
                  </a:lnTo>
                  <a:lnTo>
                    <a:pt x="4259" y="25555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6E2F4DA1-7480-408C-BD80-B10D90D1F8FA}"/>
                </a:ext>
              </a:extLst>
            </p:cNvPr>
            <p:cNvSpPr/>
            <p:nvPr userDrawn="1"/>
          </p:nvSpPr>
          <p:spPr>
            <a:xfrm>
              <a:off x="6993743" y="3621062"/>
              <a:ext cx="10266" cy="10266"/>
            </a:xfrm>
            <a:custGeom>
              <a:avLst/>
              <a:gdLst>
                <a:gd name="connsiteX0" fmla="*/ 0 w 14197"/>
                <a:gd name="connsiteY0" fmla="*/ 11358 h 14197"/>
                <a:gd name="connsiteX1" fmla="*/ 4259 w 14197"/>
                <a:gd name="connsiteY1" fmla="*/ 0 h 14197"/>
                <a:gd name="connsiteX2" fmla="*/ 15617 w 14197"/>
                <a:gd name="connsiteY2" fmla="*/ 1420 h 14197"/>
                <a:gd name="connsiteX3" fmla="*/ 15617 w 14197"/>
                <a:gd name="connsiteY3" fmla="*/ 1420 h 14197"/>
                <a:gd name="connsiteX4" fmla="*/ 24135 w 14197"/>
                <a:gd name="connsiteY4" fmla="*/ 8518 h 14197"/>
                <a:gd name="connsiteX5" fmla="*/ 19876 w 14197"/>
                <a:gd name="connsiteY5" fmla="*/ 19876 h 14197"/>
                <a:gd name="connsiteX6" fmla="*/ 9938 w 14197"/>
                <a:gd name="connsiteY6" fmla="*/ 18456 h 14197"/>
                <a:gd name="connsiteX7" fmla="*/ 7099 w 14197"/>
                <a:gd name="connsiteY7" fmla="*/ 26974 h 14197"/>
                <a:gd name="connsiteX8" fmla="*/ 5679 w 14197"/>
                <a:gd name="connsiteY8" fmla="*/ 26974 h 14197"/>
                <a:gd name="connsiteX9" fmla="*/ 4259 w 14197"/>
                <a:gd name="connsiteY9" fmla="*/ 26974 h 14197"/>
                <a:gd name="connsiteX10" fmla="*/ 7099 w 14197"/>
                <a:gd name="connsiteY10" fmla="*/ 1845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97" h="14197">
                  <a:moveTo>
                    <a:pt x="0" y="11358"/>
                  </a:moveTo>
                  <a:lnTo>
                    <a:pt x="4259" y="0"/>
                  </a:lnTo>
                  <a:lnTo>
                    <a:pt x="15617" y="1420"/>
                  </a:lnTo>
                  <a:lnTo>
                    <a:pt x="15617" y="1420"/>
                  </a:lnTo>
                  <a:lnTo>
                    <a:pt x="24135" y="8518"/>
                  </a:lnTo>
                  <a:lnTo>
                    <a:pt x="19876" y="19876"/>
                  </a:lnTo>
                  <a:lnTo>
                    <a:pt x="9938" y="18456"/>
                  </a:lnTo>
                  <a:lnTo>
                    <a:pt x="7099" y="26974"/>
                  </a:lnTo>
                  <a:lnTo>
                    <a:pt x="5679" y="26974"/>
                  </a:lnTo>
                  <a:lnTo>
                    <a:pt x="4259" y="26974"/>
                  </a:lnTo>
                  <a:lnTo>
                    <a:pt x="7099" y="18456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" name="任意多边形: 形状 141">
              <a:extLst>
                <a:ext uri="{FF2B5EF4-FFF2-40B4-BE49-F238E27FC236}">
                  <a16:creationId xmlns:a16="http://schemas.microsoft.com/office/drawing/2014/main" id="{AC434346-59CA-46CD-97DA-BCDE683E1A06}"/>
                </a:ext>
              </a:extLst>
            </p:cNvPr>
            <p:cNvSpPr/>
            <p:nvPr userDrawn="1"/>
          </p:nvSpPr>
          <p:spPr>
            <a:xfrm>
              <a:off x="7013248" y="3630301"/>
              <a:ext cx="10266" cy="10266"/>
            </a:xfrm>
            <a:custGeom>
              <a:avLst/>
              <a:gdLst>
                <a:gd name="connsiteX0" fmla="*/ 0 w 14197"/>
                <a:gd name="connsiteY0" fmla="*/ 11358 h 14197"/>
                <a:gd name="connsiteX1" fmla="*/ 5679 w 14197"/>
                <a:gd name="connsiteY1" fmla="*/ 0 h 14197"/>
                <a:gd name="connsiteX2" fmla="*/ 17036 w 14197"/>
                <a:gd name="connsiteY2" fmla="*/ 1420 h 14197"/>
                <a:gd name="connsiteX3" fmla="*/ 17036 w 14197"/>
                <a:gd name="connsiteY3" fmla="*/ 1420 h 14197"/>
                <a:gd name="connsiteX4" fmla="*/ 25555 w 14197"/>
                <a:gd name="connsiteY4" fmla="*/ 8518 h 14197"/>
                <a:gd name="connsiteX5" fmla="*/ 21296 w 14197"/>
                <a:gd name="connsiteY5" fmla="*/ 19876 h 14197"/>
                <a:gd name="connsiteX6" fmla="*/ 11358 w 14197"/>
                <a:gd name="connsiteY6" fmla="*/ 18456 h 14197"/>
                <a:gd name="connsiteX7" fmla="*/ 8518 w 14197"/>
                <a:gd name="connsiteY7" fmla="*/ 26974 h 14197"/>
                <a:gd name="connsiteX8" fmla="*/ 5679 w 14197"/>
                <a:gd name="connsiteY8" fmla="*/ 25555 h 14197"/>
                <a:gd name="connsiteX9" fmla="*/ 8518 w 14197"/>
                <a:gd name="connsiteY9" fmla="*/ 17036 h 1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197" h="14197">
                  <a:moveTo>
                    <a:pt x="0" y="11358"/>
                  </a:moveTo>
                  <a:lnTo>
                    <a:pt x="5679" y="0"/>
                  </a:lnTo>
                  <a:lnTo>
                    <a:pt x="17036" y="1420"/>
                  </a:lnTo>
                  <a:lnTo>
                    <a:pt x="17036" y="1420"/>
                  </a:lnTo>
                  <a:lnTo>
                    <a:pt x="25555" y="8518"/>
                  </a:lnTo>
                  <a:lnTo>
                    <a:pt x="21296" y="19876"/>
                  </a:lnTo>
                  <a:lnTo>
                    <a:pt x="11358" y="18456"/>
                  </a:lnTo>
                  <a:lnTo>
                    <a:pt x="8518" y="26974"/>
                  </a:lnTo>
                  <a:lnTo>
                    <a:pt x="5679" y="25555"/>
                  </a:lnTo>
                  <a:lnTo>
                    <a:pt x="8518" y="17036"/>
                  </a:lnTo>
                  <a:close/>
                </a:path>
              </a:pathLst>
            </a:custGeom>
            <a:solidFill>
              <a:srgbClr val="C9954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" name="任意多边形: 形状 142">
              <a:extLst>
                <a:ext uri="{FF2B5EF4-FFF2-40B4-BE49-F238E27FC236}">
                  <a16:creationId xmlns:a16="http://schemas.microsoft.com/office/drawing/2014/main" id="{A5ACB597-C071-4FA8-A6E8-0672F3C87E58}"/>
                </a:ext>
              </a:extLst>
            </p:cNvPr>
            <p:cNvSpPr/>
            <p:nvPr userDrawn="1"/>
          </p:nvSpPr>
          <p:spPr>
            <a:xfrm>
              <a:off x="7468822" y="3824558"/>
              <a:ext cx="71861" cy="71861"/>
            </a:xfrm>
            <a:custGeom>
              <a:avLst/>
              <a:gdLst>
                <a:gd name="connsiteX0" fmla="*/ 3162 w 99379"/>
                <a:gd name="connsiteY0" fmla="*/ 33753 h 99379"/>
                <a:gd name="connsiteX1" fmla="*/ 75567 w 99379"/>
                <a:gd name="connsiteY1" fmla="*/ 3939 h 99379"/>
                <a:gd name="connsiteX2" fmla="*/ 108220 w 99379"/>
                <a:gd name="connsiteY2" fmla="*/ 74924 h 99379"/>
                <a:gd name="connsiteX3" fmla="*/ 35815 w 99379"/>
                <a:gd name="connsiteY3" fmla="*/ 104738 h 99379"/>
                <a:gd name="connsiteX4" fmla="*/ 3162 w 99379"/>
                <a:gd name="connsiteY4" fmla="*/ 33753 h 9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379" h="99379">
                  <a:moveTo>
                    <a:pt x="3162" y="33753"/>
                  </a:moveTo>
                  <a:cubicBezTo>
                    <a:pt x="15939" y="6779"/>
                    <a:pt x="47173" y="-7418"/>
                    <a:pt x="75567" y="3939"/>
                  </a:cubicBezTo>
                  <a:cubicBezTo>
                    <a:pt x="103961" y="15297"/>
                    <a:pt x="118158" y="46530"/>
                    <a:pt x="108220" y="74924"/>
                  </a:cubicBezTo>
                  <a:cubicBezTo>
                    <a:pt x="95442" y="101899"/>
                    <a:pt x="64209" y="116096"/>
                    <a:pt x="35815" y="104738"/>
                  </a:cubicBezTo>
                  <a:cubicBezTo>
                    <a:pt x="7421" y="93381"/>
                    <a:pt x="-6776" y="62147"/>
                    <a:pt x="3162" y="33753"/>
                  </a:cubicBezTo>
                  <a:close/>
                </a:path>
              </a:pathLst>
            </a:custGeom>
            <a:solidFill>
              <a:srgbClr val="392412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" name="任意多边形: 形状 143">
              <a:extLst>
                <a:ext uri="{FF2B5EF4-FFF2-40B4-BE49-F238E27FC236}">
                  <a16:creationId xmlns:a16="http://schemas.microsoft.com/office/drawing/2014/main" id="{657348BB-4959-4008-9DF2-1B4A6510B7BA}"/>
                </a:ext>
              </a:extLst>
            </p:cNvPr>
            <p:cNvSpPr/>
            <p:nvPr userDrawn="1"/>
          </p:nvSpPr>
          <p:spPr>
            <a:xfrm>
              <a:off x="6944424" y="3624906"/>
              <a:ext cx="544094" cy="246382"/>
            </a:xfrm>
            <a:custGeom>
              <a:avLst/>
              <a:gdLst>
                <a:gd name="connsiteX0" fmla="*/ 4317 w 752442"/>
                <a:gd name="connsiteY0" fmla="*/ 54311 h 340728"/>
                <a:gd name="connsiteX1" fmla="*/ 103696 w 752442"/>
                <a:gd name="connsiteY1" fmla="*/ 91223 h 340728"/>
                <a:gd name="connsiteX2" fmla="*/ 106535 w 752442"/>
                <a:gd name="connsiteY2" fmla="*/ 91223 h 340728"/>
                <a:gd name="connsiteX3" fmla="*/ 109375 w 752442"/>
                <a:gd name="connsiteY3" fmla="*/ 91223 h 340728"/>
                <a:gd name="connsiteX4" fmla="*/ 113634 w 752442"/>
                <a:gd name="connsiteY4" fmla="*/ 91223 h 340728"/>
                <a:gd name="connsiteX5" fmla="*/ 115053 w 752442"/>
                <a:gd name="connsiteY5" fmla="*/ 91223 h 340728"/>
                <a:gd name="connsiteX6" fmla="*/ 116473 w 752442"/>
                <a:gd name="connsiteY6" fmla="*/ 91223 h 340728"/>
                <a:gd name="connsiteX7" fmla="*/ 117893 w 752442"/>
                <a:gd name="connsiteY7" fmla="*/ 91223 h 340728"/>
                <a:gd name="connsiteX8" fmla="*/ 119312 w 752442"/>
                <a:gd name="connsiteY8" fmla="*/ 91223 h 340728"/>
                <a:gd name="connsiteX9" fmla="*/ 146287 w 752442"/>
                <a:gd name="connsiteY9" fmla="*/ 102580 h 340728"/>
                <a:gd name="connsiteX10" fmla="*/ 149126 w 752442"/>
                <a:gd name="connsiteY10" fmla="*/ 104000 h 340728"/>
                <a:gd name="connsiteX11" fmla="*/ 169002 w 752442"/>
                <a:gd name="connsiteY11" fmla="*/ 112518 h 340728"/>
                <a:gd name="connsiteX12" fmla="*/ 171841 w 752442"/>
                <a:gd name="connsiteY12" fmla="*/ 113938 h 340728"/>
                <a:gd name="connsiteX13" fmla="*/ 183199 w 752442"/>
                <a:gd name="connsiteY13" fmla="*/ 118197 h 340728"/>
                <a:gd name="connsiteX14" fmla="*/ 186038 w 752442"/>
                <a:gd name="connsiteY14" fmla="*/ 119617 h 340728"/>
                <a:gd name="connsiteX15" fmla="*/ 215852 w 752442"/>
                <a:gd name="connsiteY15" fmla="*/ 132394 h 340728"/>
                <a:gd name="connsiteX16" fmla="*/ 218692 w 752442"/>
                <a:gd name="connsiteY16" fmla="*/ 133814 h 340728"/>
                <a:gd name="connsiteX17" fmla="*/ 218692 w 752442"/>
                <a:gd name="connsiteY17" fmla="*/ 133814 h 340728"/>
                <a:gd name="connsiteX18" fmla="*/ 221531 w 752442"/>
                <a:gd name="connsiteY18" fmla="*/ 135233 h 340728"/>
                <a:gd name="connsiteX19" fmla="*/ 254184 w 752442"/>
                <a:gd name="connsiteY19" fmla="*/ 148011 h 340728"/>
                <a:gd name="connsiteX20" fmla="*/ 257024 w 752442"/>
                <a:gd name="connsiteY20" fmla="*/ 149431 h 340728"/>
                <a:gd name="connsiteX21" fmla="*/ 289677 w 752442"/>
                <a:gd name="connsiteY21" fmla="*/ 163628 h 340728"/>
                <a:gd name="connsiteX22" fmla="*/ 292516 w 752442"/>
                <a:gd name="connsiteY22" fmla="*/ 165047 h 340728"/>
                <a:gd name="connsiteX23" fmla="*/ 325169 w 752442"/>
                <a:gd name="connsiteY23" fmla="*/ 179244 h 340728"/>
                <a:gd name="connsiteX24" fmla="*/ 328009 w 752442"/>
                <a:gd name="connsiteY24" fmla="*/ 180664 h 340728"/>
                <a:gd name="connsiteX25" fmla="*/ 359242 w 752442"/>
                <a:gd name="connsiteY25" fmla="*/ 192022 h 340728"/>
                <a:gd name="connsiteX26" fmla="*/ 362082 w 752442"/>
                <a:gd name="connsiteY26" fmla="*/ 193441 h 340728"/>
                <a:gd name="connsiteX27" fmla="*/ 396154 w 752442"/>
                <a:gd name="connsiteY27" fmla="*/ 207638 h 340728"/>
                <a:gd name="connsiteX28" fmla="*/ 398994 w 752442"/>
                <a:gd name="connsiteY28" fmla="*/ 209058 h 340728"/>
                <a:gd name="connsiteX29" fmla="*/ 433067 w 752442"/>
                <a:gd name="connsiteY29" fmla="*/ 223255 h 340728"/>
                <a:gd name="connsiteX30" fmla="*/ 435906 w 752442"/>
                <a:gd name="connsiteY30" fmla="*/ 224675 h 340728"/>
                <a:gd name="connsiteX31" fmla="*/ 474238 w 752442"/>
                <a:gd name="connsiteY31" fmla="*/ 240291 h 340728"/>
                <a:gd name="connsiteX32" fmla="*/ 477077 w 752442"/>
                <a:gd name="connsiteY32" fmla="*/ 241711 h 340728"/>
                <a:gd name="connsiteX33" fmla="*/ 515409 w 752442"/>
                <a:gd name="connsiteY33" fmla="*/ 257328 h 340728"/>
                <a:gd name="connsiteX34" fmla="*/ 518249 w 752442"/>
                <a:gd name="connsiteY34" fmla="*/ 258748 h 340728"/>
                <a:gd name="connsiteX35" fmla="*/ 546643 w 752442"/>
                <a:gd name="connsiteY35" fmla="*/ 270105 h 340728"/>
                <a:gd name="connsiteX36" fmla="*/ 549482 w 752442"/>
                <a:gd name="connsiteY36" fmla="*/ 271525 h 340728"/>
                <a:gd name="connsiteX37" fmla="*/ 577876 w 752442"/>
                <a:gd name="connsiteY37" fmla="*/ 282883 h 340728"/>
                <a:gd name="connsiteX38" fmla="*/ 580716 w 752442"/>
                <a:gd name="connsiteY38" fmla="*/ 284302 h 340728"/>
                <a:gd name="connsiteX39" fmla="*/ 600592 w 752442"/>
                <a:gd name="connsiteY39" fmla="*/ 291401 h 340728"/>
                <a:gd name="connsiteX40" fmla="*/ 603431 w 752442"/>
                <a:gd name="connsiteY40" fmla="*/ 292820 h 340728"/>
                <a:gd name="connsiteX41" fmla="*/ 623307 w 752442"/>
                <a:gd name="connsiteY41" fmla="*/ 301339 h 340728"/>
                <a:gd name="connsiteX42" fmla="*/ 626146 w 752442"/>
                <a:gd name="connsiteY42" fmla="*/ 302758 h 340728"/>
                <a:gd name="connsiteX43" fmla="*/ 646022 w 752442"/>
                <a:gd name="connsiteY43" fmla="*/ 311277 h 340728"/>
                <a:gd name="connsiteX44" fmla="*/ 648861 w 752442"/>
                <a:gd name="connsiteY44" fmla="*/ 312696 h 340728"/>
                <a:gd name="connsiteX45" fmla="*/ 667317 w 752442"/>
                <a:gd name="connsiteY45" fmla="*/ 319795 h 340728"/>
                <a:gd name="connsiteX46" fmla="*/ 670157 w 752442"/>
                <a:gd name="connsiteY46" fmla="*/ 321214 h 340728"/>
                <a:gd name="connsiteX47" fmla="*/ 688613 w 752442"/>
                <a:gd name="connsiteY47" fmla="*/ 328313 h 340728"/>
                <a:gd name="connsiteX48" fmla="*/ 691452 w 752442"/>
                <a:gd name="connsiteY48" fmla="*/ 329733 h 340728"/>
                <a:gd name="connsiteX49" fmla="*/ 709909 w 752442"/>
                <a:gd name="connsiteY49" fmla="*/ 336831 h 340728"/>
                <a:gd name="connsiteX50" fmla="*/ 712748 w 752442"/>
                <a:gd name="connsiteY50" fmla="*/ 338251 h 340728"/>
                <a:gd name="connsiteX51" fmla="*/ 732624 w 752442"/>
                <a:gd name="connsiteY51" fmla="*/ 346769 h 340728"/>
                <a:gd name="connsiteX52" fmla="*/ 732624 w 752442"/>
                <a:gd name="connsiteY52" fmla="*/ 346769 h 340728"/>
                <a:gd name="connsiteX53" fmla="*/ 758178 w 752442"/>
                <a:gd name="connsiteY53" fmla="*/ 284302 h 340728"/>
                <a:gd name="connsiteX54" fmla="*/ 758178 w 752442"/>
                <a:gd name="connsiteY54" fmla="*/ 284302 h 340728"/>
                <a:gd name="connsiteX55" fmla="*/ 738303 w 752442"/>
                <a:gd name="connsiteY55" fmla="*/ 277204 h 340728"/>
                <a:gd name="connsiteX56" fmla="*/ 735463 w 752442"/>
                <a:gd name="connsiteY56" fmla="*/ 275784 h 340728"/>
                <a:gd name="connsiteX57" fmla="*/ 717007 w 752442"/>
                <a:gd name="connsiteY57" fmla="*/ 268686 h 340728"/>
                <a:gd name="connsiteX58" fmla="*/ 714168 w 752442"/>
                <a:gd name="connsiteY58" fmla="*/ 267266 h 340728"/>
                <a:gd name="connsiteX59" fmla="*/ 695712 w 752442"/>
                <a:gd name="connsiteY59" fmla="*/ 260167 h 340728"/>
                <a:gd name="connsiteX60" fmla="*/ 692872 w 752442"/>
                <a:gd name="connsiteY60" fmla="*/ 258748 h 340728"/>
                <a:gd name="connsiteX61" fmla="*/ 674416 w 752442"/>
                <a:gd name="connsiteY61" fmla="*/ 251649 h 340728"/>
                <a:gd name="connsiteX62" fmla="*/ 671577 w 752442"/>
                <a:gd name="connsiteY62" fmla="*/ 250229 h 340728"/>
                <a:gd name="connsiteX63" fmla="*/ 651701 w 752442"/>
                <a:gd name="connsiteY63" fmla="*/ 243131 h 340728"/>
                <a:gd name="connsiteX64" fmla="*/ 648861 w 752442"/>
                <a:gd name="connsiteY64" fmla="*/ 241711 h 340728"/>
                <a:gd name="connsiteX65" fmla="*/ 626146 w 752442"/>
                <a:gd name="connsiteY65" fmla="*/ 234613 h 340728"/>
                <a:gd name="connsiteX66" fmla="*/ 623307 w 752442"/>
                <a:gd name="connsiteY66" fmla="*/ 233193 h 340728"/>
                <a:gd name="connsiteX67" fmla="*/ 602011 w 752442"/>
                <a:gd name="connsiteY67" fmla="*/ 226094 h 340728"/>
                <a:gd name="connsiteX68" fmla="*/ 600592 w 752442"/>
                <a:gd name="connsiteY68" fmla="*/ 224675 h 340728"/>
                <a:gd name="connsiteX69" fmla="*/ 572197 w 752442"/>
                <a:gd name="connsiteY69" fmla="*/ 214737 h 340728"/>
                <a:gd name="connsiteX70" fmla="*/ 569358 w 752442"/>
                <a:gd name="connsiteY70" fmla="*/ 213317 h 340728"/>
                <a:gd name="connsiteX71" fmla="*/ 540964 w 752442"/>
                <a:gd name="connsiteY71" fmla="*/ 203379 h 340728"/>
                <a:gd name="connsiteX72" fmla="*/ 538125 w 752442"/>
                <a:gd name="connsiteY72" fmla="*/ 201959 h 340728"/>
                <a:gd name="connsiteX73" fmla="*/ 498373 w 752442"/>
                <a:gd name="connsiteY73" fmla="*/ 187762 h 340728"/>
                <a:gd name="connsiteX74" fmla="*/ 495534 w 752442"/>
                <a:gd name="connsiteY74" fmla="*/ 186343 h 340728"/>
                <a:gd name="connsiteX75" fmla="*/ 455782 w 752442"/>
                <a:gd name="connsiteY75" fmla="*/ 172146 h 340728"/>
                <a:gd name="connsiteX76" fmla="*/ 452942 w 752442"/>
                <a:gd name="connsiteY76" fmla="*/ 170726 h 340728"/>
                <a:gd name="connsiteX77" fmla="*/ 418870 w 752442"/>
                <a:gd name="connsiteY77" fmla="*/ 157949 h 340728"/>
                <a:gd name="connsiteX78" fmla="*/ 416030 w 752442"/>
                <a:gd name="connsiteY78" fmla="*/ 156529 h 340728"/>
                <a:gd name="connsiteX79" fmla="*/ 381957 w 752442"/>
                <a:gd name="connsiteY79" fmla="*/ 143752 h 340728"/>
                <a:gd name="connsiteX80" fmla="*/ 379118 w 752442"/>
                <a:gd name="connsiteY80" fmla="*/ 142332 h 340728"/>
                <a:gd name="connsiteX81" fmla="*/ 346465 w 752442"/>
                <a:gd name="connsiteY81" fmla="*/ 129555 h 340728"/>
                <a:gd name="connsiteX82" fmla="*/ 343625 w 752442"/>
                <a:gd name="connsiteY82" fmla="*/ 128135 h 340728"/>
                <a:gd name="connsiteX83" fmla="*/ 310972 w 752442"/>
                <a:gd name="connsiteY83" fmla="*/ 115358 h 340728"/>
                <a:gd name="connsiteX84" fmla="*/ 308133 w 752442"/>
                <a:gd name="connsiteY84" fmla="*/ 113938 h 340728"/>
                <a:gd name="connsiteX85" fmla="*/ 274060 w 752442"/>
                <a:gd name="connsiteY85" fmla="*/ 102580 h 340728"/>
                <a:gd name="connsiteX86" fmla="*/ 271221 w 752442"/>
                <a:gd name="connsiteY86" fmla="*/ 101161 h 340728"/>
                <a:gd name="connsiteX87" fmla="*/ 238567 w 752442"/>
                <a:gd name="connsiteY87" fmla="*/ 88383 h 340728"/>
                <a:gd name="connsiteX88" fmla="*/ 235728 w 752442"/>
                <a:gd name="connsiteY88" fmla="*/ 86964 h 340728"/>
                <a:gd name="connsiteX89" fmla="*/ 235728 w 752442"/>
                <a:gd name="connsiteY89" fmla="*/ 86964 h 340728"/>
                <a:gd name="connsiteX90" fmla="*/ 232889 w 752442"/>
                <a:gd name="connsiteY90" fmla="*/ 85544 h 340728"/>
                <a:gd name="connsiteX91" fmla="*/ 203075 w 752442"/>
                <a:gd name="connsiteY91" fmla="*/ 77026 h 340728"/>
                <a:gd name="connsiteX92" fmla="*/ 200236 w 752442"/>
                <a:gd name="connsiteY92" fmla="*/ 75606 h 340728"/>
                <a:gd name="connsiteX93" fmla="*/ 188878 w 752442"/>
                <a:gd name="connsiteY93" fmla="*/ 71347 h 340728"/>
                <a:gd name="connsiteX94" fmla="*/ 186038 w 752442"/>
                <a:gd name="connsiteY94" fmla="*/ 69927 h 340728"/>
                <a:gd name="connsiteX95" fmla="*/ 166163 w 752442"/>
                <a:gd name="connsiteY95" fmla="*/ 62829 h 340728"/>
                <a:gd name="connsiteX96" fmla="*/ 163323 w 752442"/>
                <a:gd name="connsiteY96" fmla="*/ 61409 h 340728"/>
                <a:gd name="connsiteX97" fmla="*/ 136349 w 752442"/>
                <a:gd name="connsiteY97" fmla="*/ 51471 h 340728"/>
                <a:gd name="connsiteX98" fmla="*/ 134929 w 752442"/>
                <a:gd name="connsiteY98" fmla="*/ 51471 h 340728"/>
                <a:gd name="connsiteX99" fmla="*/ 133510 w 752442"/>
                <a:gd name="connsiteY99" fmla="*/ 51471 h 340728"/>
                <a:gd name="connsiteX100" fmla="*/ 132090 w 752442"/>
                <a:gd name="connsiteY100" fmla="*/ 51471 h 340728"/>
                <a:gd name="connsiteX101" fmla="*/ 132090 w 752442"/>
                <a:gd name="connsiteY101" fmla="*/ 48632 h 340728"/>
                <a:gd name="connsiteX102" fmla="*/ 129250 w 752442"/>
                <a:gd name="connsiteY102" fmla="*/ 45792 h 340728"/>
                <a:gd name="connsiteX103" fmla="*/ 126411 w 752442"/>
                <a:gd name="connsiteY103" fmla="*/ 42953 h 340728"/>
                <a:gd name="connsiteX104" fmla="*/ 124991 w 752442"/>
                <a:gd name="connsiteY104" fmla="*/ 41533 h 340728"/>
                <a:gd name="connsiteX105" fmla="*/ 27032 w 752442"/>
                <a:gd name="connsiteY105" fmla="*/ 362 h 340728"/>
                <a:gd name="connsiteX106" fmla="*/ 14255 w 752442"/>
                <a:gd name="connsiteY106" fmla="*/ 7460 h 340728"/>
                <a:gd name="connsiteX107" fmla="*/ 1477 w 752442"/>
                <a:gd name="connsiteY107" fmla="*/ 40113 h 340728"/>
                <a:gd name="connsiteX108" fmla="*/ 4317 w 752442"/>
                <a:gd name="connsiteY108" fmla="*/ 54311 h 34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752442" h="340728">
                  <a:moveTo>
                    <a:pt x="4317" y="54311"/>
                  </a:moveTo>
                  <a:lnTo>
                    <a:pt x="103696" y="91223"/>
                  </a:lnTo>
                  <a:cubicBezTo>
                    <a:pt x="105115" y="91223"/>
                    <a:pt x="105115" y="91223"/>
                    <a:pt x="106535" y="91223"/>
                  </a:cubicBezTo>
                  <a:lnTo>
                    <a:pt x="109375" y="91223"/>
                  </a:lnTo>
                  <a:lnTo>
                    <a:pt x="113634" y="91223"/>
                  </a:lnTo>
                  <a:lnTo>
                    <a:pt x="115053" y="91223"/>
                  </a:lnTo>
                  <a:cubicBezTo>
                    <a:pt x="115053" y="91223"/>
                    <a:pt x="115053" y="91223"/>
                    <a:pt x="116473" y="91223"/>
                  </a:cubicBezTo>
                  <a:cubicBezTo>
                    <a:pt x="116473" y="91223"/>
                    <a:pt x="116473" y="91223"/>
                    <a:pt x="117893" y="91223"/>
                  </a:cubicBezTo>
                  <a:cubicBezTo>
                    <a:pt x="117893" y="91223"/>
                    <a:pt x="117893" y="91223"/>
                    <a:pt x="119312" y="91223"/>
                  </a:cubicBezTo>
                  <a:lnTo>
                    <a:pt x="146287" y="102580"/>
                  </a:lnTo>
                  <a:lnTo>
                    <a:pt x="149126" y="104000"/>
                  </a:lnTo>
                  <a:lnTo>
                    <a:pt x="169002" y="112518"/>
                  </a:lnTo>
                  <a:lnTo>
                    <a:pt x="171841" y="113938"/>
                  </a:lnTo>
                  <a:lnTo>
                    <a:pt x="183199" y="118197"/>
                  </a:lnTo>
                  <a:lnTo>
                    <a:pt x="186038" y="119617"/>
                  </a:lnTo>
                  <a:lnTo>
                    <a:pt x="215852" y="132394"/>
                  </a:lnTo>
                  <a:lnTo>
                    <a:pt x="218692" y="133814"/>
                  </a:lnTo>
                  <a:lnTo>
                    <a:pt x="218692" y="133814"/>
                  </a:lnTo>
                  <a:lnTo>
                    <a:pt x="221531" y="135233"/>
                  </a:lnTo>
                  <a:lnTo>
                    <a:pt x="254184" y="148011"/>
                  </a:lnTo>
                  <a:lnTo>
                    <a:pt x="257024" y="149431"/>
                  </a:lnTo>
                  <a:lnTo>
                    <a:pt x="289677" y="163628"/>
                  </a:lnTo>
                  <a:lnTo>
                    <a:pt x="292516" y="165047"/>
                  </a:lnTo>
                  <a:lnTo>
                    <a:pt x="325169" y="179244"/>
                  </a:lnTo>
                  <a:lnTo>
                    <a:pt x="328009" y="180664"/>
                  </a:lnTo>
                  <a:lnTo>
                    <a:pt x="359242" y="192022"/>
                  </a:lnTo>
                  <a:lnTo>
                    <a:pt x="362082" y="193441"/>
                  </a:lnTo>
                  <a:lnTo>
                    <a:pt x="396154" y="207638"/>
                  </a:lnTo>
                  <a:lnTo>
                    <a:pt x="398994" y="209058"/>
                  </a:lnTo>
                  <a:lnTo>
                    <a:pt x="433067" y="223255"/>
                  </a:lnTo>
                  <a:lnTo>
                    <a:pt x="435906" y="224675"/>
                  </a:lnTo>
                  <a:lnTo>
                    <a:pt x="474238" y="240291"/>
                  </a:lnTo>
                  <a:lnTo>
                    <a:pt x="477077" y="241711"/>
                  </a:lnTo>
                  <a:lnTo>
                    <a:pt x="515409" y="257328"/>
                  </a:lnTo>
                  <a:lnTo>
                    <a:pt x="518249" y="258748"/>
                  </a:lnTo>
                  <a:lnTo>
                    <a:pt x="546643" y="270105"/>
                  </a:lnTo>
                  <a:lnTo>
                    <a:pt x="549482" y="271525"/>
                  </a:lnTo>
                  <a:lnTo>
                    <a:pt x="577876" y="282883"/>
                  </a:lnTo>
                  <a:lnTo>
                    <a:pt x="580716" y="284302"/>
                  </a:lnTo>
                  <a:lnTo>
                    <a:pt x="600592" y="291401"/>
                  </a:lnTo>
                  <a:lnTo>
                    <a:pt x="603431" y="292820"/>
                  </a:lnTo>
                  <a:lnTo>
                    <a:pt x="623307" y="301339"/>
                  </a:lnTo>
                  <a:lnTo>
                    <a:pt x="626146" y="302758"/>
                  </a:lnTo>
                  <a:lnTo>
                    <a:pt x="646022" y="311277"/>
                  </a:lnTo>
                  <a:lnTo>
                    <a:pt x="648861" y="312696"/>
                  </a:lnTo>
                  <a:lnTo>
                    <a:pt x="667317" y="319795"/>
                  </a:lnTo>
                  <a:lnTo>
                    <a:pt x="670157" y="321214"/>
                  </a:lnTo>
                  <a:lnTo>
                    <a:pt x="688613" y="328313"/>
                  </a:lnTo>
                  <a:lnTo>
                    <a:pt x="691452" y="329733"/>
                  </a:lnTo>
                  <a:lnTo>
                    <a:pt x="709909" y="336831"/>
                  </a:lnTo>
                  <a:lnTo>
                    <a:pt x="712748" y="338251"/>
                  </a:lnTo>
                  <a:lnTo>
                    <a:pt x="732624" y="346769"/>
                  </a:lnTo>
                  <a:lnTo>
                    <a:pt x="732624" y="346769"/>
                  </a:lnTo>
                  <a:lnTo>
                    <a:pt x="758178" y="284302"/>
                  </a:lnTo>
                  <a:lnTo>
                    <a:pt x="758178" y="284302"/>
                  </a:lnTo>
                  <a:lnTo>
                    <a:pt x="738303" y="277204"/>
                  </a:lnTo>
                  <a:lnTo>
                    <a:pt x="735463" y="275784"/>
                  </a:lnTo>
                  <a:lnTo>
                    <a:pt x="717007" y="268686"/>
                  </a:lnTo>
                  <a:lnTo>
                    <a:pt x="714168" y="267266"/>
                  </a:lnTo>
                  <a:lnTo>
                    <a:pt x="695712" y="260167"/>
                  </a:lnTo>
                  <a:lnTo>
                    <a:pt x="692872" y="258748"/>
                  </a:lnTo>
                  <a:lnTo>
                    <a:pt x="674416" y="251649"/>
                  </a:lnTo>
                  <a:lnTo>
                    <a:pt x="671577" y="250229"/>
                  </a:lnTo>
                  <a:lnTo>
                    <a:pt x="651701" y="243131"/>
                  </a:lnTo>
                  <a:lnTo>
                    <a:pt x="648861" y="241711"/>
                  </a:lnTo>
                  <a:lnTo>
                    <a:pt x="626146" y="234613"/>
                  </a:lnTo>
                  <a:lnTo>
                    <a:pt x="623307" y="233193"/>
                  </a:lnTo>
                  <a:lnTo>
                    <a:pt x="602011" y="226094"/>
                  </a:lnTo>
                  <a:lnTo>
                    <a:pt x="600592" y="224675"/>
                  </a:lnTo>
                  <a:lnTo>
                    <a:pt x="572197" y="214737"/>
                  </a:lnTo>
                  <a:lnTo>
                    <a:pt x="569358" y="213317"/>
                  </a:lnTo>
                  <a:lnTo>
                    <a:pt x="540964" y="203379"/>
                  </a:lnTo>
                  <a:lnTo>
                    <a:pt x="538125" y="201959"/>
                  </a:lnTo>
                  <a:lnTo>
                    <a:pt x="498373" y="187762"/>
                  </a:lnTo>
                  <a:lnTo>
                    <a:pt x="495534" y="186343"/>
                  </a:lnTo>
                  <a:lnTo>
                    <a:pt x="455782" y="172146"/>
                  </a:lnTo>
                  <a:lnTo>
                    <a:pt x="452942" y="170726"/>
                  </a:lnTo>
                  <a:lnTo>
                    <a:pt x="418870" y="157949"/>
                  </a:lnTo>
                  <a:lnTo>
                    <a:pt x="416030" y="156529"/>
                  </a:lnTo>
                  <a:lnTo>
                    <a:pt x="381957" y="143752"/>
                  </a:lnTo>
                  <a:lnTo>
                    <a:pt x="379118" y="142332"/>
                  </a:lnTo>
                  <a:lnTo>
                    <a:pt x="346465" y="129555"/>
                  </a:lnTo>
                  <a:lnTo>
                    <a:pt x="343625" y="128135"/>
                  </a:lnTo>
                  <a:lnTo>
                    <a:pt x="310972" y="115358"/>
                  </a:lnTo>
                  <a:lnTo>
                    <a:pt x="308133" y="113938"/>
                  </a:lnTo>
                  <a:lnTo>
                    <a:pt x="274060" y="102580"/>
                  </a:lnTo>
                  <a:lnTo>
                    <a:pt x="271221" y="101161"/>
                  </a:lnTo>
                  <a:lnTo>
                    <a:pt x="238567" y="88383"/>
                  </a:lnTo>
                  <a:lnTo>
                    <a:pt x="235728" y="86964"/>
                  </a:lnTo>
                  <a:lnTo>
                    <a:pt x="235728" y="86964"/>
                  </a:lnTo>
                  <a:lnTo>
                    <a:pt x="232889" y="85544"/>
                  </a:lnTo>
                  <a:lnTo>
                    <a:pt x="203075" y="77026"/>
                  </a:lnTo>
                  <a:lnTo>
                    <a:pt x="200236" y="75606"/>
                  </a:lnTo>
                  <a:lnTo>
                    <a:pt x="188878" y="71347"/>
                  </a:lnTo>
                  <a:lnTo>
                    <a:pt x="186038" y="69927"/>
                  </a:lnTo>
                  <a:lnTo>
                    <a:pt x="166163" y="62829"/>
                  </a:lnTo>
                  <a:lnTo>
                    <a:pt x="163323" y="61409"/>
                  </a:lnTo>
                  <a:lnTo>
                    <a:pt x="136349" y="51471"/>
                  </a:lnTo>
                  <a:cubicBezTo>
                    <a:pt x="136349" y="51471"/>
                    <a:pt x="136349" y="51471"/>
                    <a:pt x="134929" y="51471"/>
                  </a:cubicBezTo>
                  <a:cubicBezTo>
                    <a:pt x="134929" y="51471"/>
                    <a:pt x="134929" y="51471"/>
                    <a:pt x="133510" y="51471"/>
                  </a:cubicBezTo>
                  <a:cubicBezTo>
                    <a:pt x="133510" y="51471"/>
                    <a:pt x="133510" y="51471"/>
                    <a:pt x="132090" y="51471"/>
                  </a:cubicBezTo>
                  <a:lnTo>
                    <a:pt x="132090" y="48632"/>
                  </a:lnTo>
                  <a:lnTo>
                    <a:pt x="129250" y="45792"/>
                  </a:lnTo>
                  <a:lnTo>
                    <a:pt x="126411" y="42953"/>
                  </a:lnTo>
                  <a:cubicBezTo>
                    <a:pt x="126411" y="42953"/>
                    <a:pt x="124991" y="41533"/>
                    <a:pt x="124991" y="41533"/>
                  </a:cubicBezTo>
                  <a:lnTo>
                    <a:pt x="27032" y="362"/>
                  </a:lnTo>
                  <a:cubicBezTo>
                    <a:pt x="22773" y="-1058"/>
                    <a:pt x="17094" y="1781"/>
                    <a:pt x="14255" y="7460"/>
                  </a:cubicBezTo>
                  <a:lnTo>
                    <a:pt x="1477" y="40113"/>
                  </a:lnTo>
                  <a:cubicBezTo>
                    <a:pt x="-1362" y="45792"/>
                    <a:pt x="58" y="52891"/>
                    <a:pt x="4317" y="54311"/>
                  </a:cubicBezTo>
                  <a:close/>
                </a:path>
              </a:pathLst>
            </a:custGeom>
            <a:solidFill>
              <a:srgbClr val="63402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" name="任意多边形: 形状 144">
              <a:extLst>
                <a:ext uri="{FF2B5EF4-FFF2-40B4-BE49-F238E27FC236}">
                  <a16:creationId xmlns:a16="http://schemas.microsoft.com/office/drawing/2014/main" id="{298DD9DF-7364-4A24-B5A0-CD75B33C304A}"/>
                </a:ext>
              </a:extLst>
            </p:cNvPr>
            <p:cNvSpPr/>
            <p:nvPr userDrawn="1"/>
          </p:nvSpPr>
          <p:spPr>
            <a:xfrm>
              <a:off x="7127200" y="3699083"/>
              <a:ext cx="10266" cy="30798"/>
            </a:xfrm>
            <a:custGeom>
              <a:avLst/>
              <a:gdLst>
                <a:gd name="connsiteX0" fmla="*/ 21296 w 14197"/>
                <a:gd name="connsiteY0" fmla="*/ 0 h 42591"/>
                <a:gd name="connsiteX1" fmla="*/ 2839 w 14197"/>
                <a:gd name="connsiteY1" fmla="*/ 46850 h 42591"/>
                <a:gd name="connsiteX2" fmla="*/ 0 w 14197"/>
                <a:gd name="connsiteY2" fmla="*/ 45431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1296" y="0"/>
                  </a:moveTo>
                  <a:lnTo>
                    <a:pt x="2839" y="46850"/>
                  </a:lnTo>
                  <a:lnTo>
                    <a:pt x="0" y="45431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" name="任意多边形: 形状 145">
              <a:extLst>
                <a:ext uri="{FF2B5EF4-FFF2-40B4-BE49-F238E27FC236}">
                  <a16:creationId xmlns:a16="http://schemas.microsoft.com/office/drawing/2014/main" id="{CF675AAD-8211-4B29-A620-E39005D58F1A}"/>
                </a:ext>
              </a:extLst>
            </p:cNvPr>
            <p:cNvSpPr/>
            <p:nvPr userDrawn="1"/>
          </p:nvSpPr>
          <p:spPr>
            <a:xfrm>
              <a:off x="7099482" y="3687790"/>
              <a:ext cx="10266" cy="30798"/>
            </a:xfrm>
            <a:custGeom>
              <a:avLst/>
              <a:gdLst>
                <a:gd name="connsiteX0" fmla="*/ 0 w 14197"/>
                <a:gd name="connsiteY0" fmla="*/ 45431 h 42591"/>
                <a:gd name="connsiteX1" fmla="*/ 2839 w 14197"/>
                <a:gd name="connsiteY1" fmla="*/ 45431 h 42591"/>
                <a:gd name="connsiteX2" fmla="*/ 21296 w 14197"/>
                <a:gd name="connsiteY2" fmla="*/ 1420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0" y="45431"/>
                  </a:moveTo>
                  <a:lnTo>
                    <a:pt x="2839" y="45431"/>
                  </a:lnTo>
                  <a:lnTo>
                    <a:pt x="21296" y="1420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" name="任意多边形: 形状 146">
              <a:extLst>
                <a:ext uri="{FF2B5EF4-FFF2-40B4-BE49-F238E27FC236}">
                  <a16:creationId xmlns:a16="http://schemas.microsoft.com/office/drawing/2014/main" id="{28A66D56-484D-4262-8BD4-67423DD716E2}"/>
                </a:ext>
              </a:extLst>
            </p:cNvPr>
            <p:cNvSpPr/>
            <p:nvPr userDrawn="1"/>
          </p:nvSpPr>
          <p:spPr>
            <a:xfrm>
              <a:off x="7066630" y="3675472"/>
              <a:ext cx="10266" cy="30798"/>
            </a:xfrm>
            <a:custGeom>
              <a:avLst/>
              <a:gdLst>
                <a:gd name="connsiteX0" fmla="*/ 0 w 14197"/>
                <a:gd name="connsiteY0" fmla="*/ 42591 h 42591"/>
                <a:gd name="connsiteX1" fmla="*/ 2839 w 14197"/>
                <a:gd name="connsiteY1" fmla="*/ 44011 h 42591"/>
                <a:gd name="connsiteX2" fmla="*/ 19876 w 14197"/>
                <a:gd name="connsiteY2" fmla="*/ 1420 h 42591"/>
                <a:gd name="connsiteX3" fmla="*/ 1703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0" y="42591"/>
                  </a:moveTo>
                  <a:lnTo>
                    <a:pt x="2839" y="44011"/>
                  </a:lnTo>
                  <a:lnTo>
                    <a:pt x="19876" y="1420"/>
                  </a:lnTo>
                  <a:lnTo>
                    <a:pt x="1703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" name="任意多边形: 形状 147">
              <a:extLst>
                <a:ext uri="{FF2B5EF4-FFF2-40B4-BE49-F238E27FC236}">
                  <a16:creationId xmlns:a16="http://schemas.microsoft.com/office/drawing/2014/main" id="{A425B245-E0B2-43BA-ADAB-3B18ACAC93EA}"/>
                </a:ext>
              </a:extLst>
            </p:cNvPr>
            <p:cNvSpPr/>
            <p:nvPr userDrawn="1"/>
          </p:nvSpPr>
          <p:spPr>
            <a:xfrm>
              <a:off x="7027620" y="3660072"/>
              <a:ext cx="10266" cy="30798"/>
            </a:xfrm>
            <a:custGeom>
              <a:avLst/>
              <a:gdLst>
                <a:gd name="connsiteX0" fmla="*/ 0 w 14197"/>
                <a:gd name="connsiteY0" fmla="*/ 42591 h 42591"/>
                <a:gd name="connsiteX1" fmla="*/ 1420 w 14197"/>
                <a:gd name="connsiteY1" fmla="*/ 42591 h 42591"/>
                <a:gd name="connsiteX2" fmla="*/ 2839 w 14197"/>
                <a:gd name="connsiteY2" fmla="*/ 42591 h 42591"/>
                <a:gd name="connsiteX3" fmla="*/ 4259 w 14197"/>
                <a:gd name="connsiteY3" fmla="*/ 42591 h 42591"/>
                <a:gd name="connsiteX4" fmla="*/ 21296 w 14197"/>
                <a:gd name="connsiteY4" fmla="*/ 1420 h 42591"/>
                <a:gd name="connsiteX5" fmla="*/ 19876 w 14197"/>
                <a:gd name="connsiteY5" fmla="*/ 1420 h 42591"/>
                <a:gd name="connsiteX6" fmla="*/ 18456 w 14197"/>
                <a:gd name="connsiteY6" fmla="*/ 1420 h 42591"/>
                <a:gd name="connsiteX7" fmla="*/ 17036 w 14197"/>
                <a:gd name="connsiteY7" fmla="*/ 0 h 42591"/>
                <a:gd name="connsiteX8" fmla="*/ 0 w 14197"/>
                <a:gd name="connsiteY8" fmla="*/ 42591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97" h="42591">
                  <a:moveTo>
                    <a:pt x="0" y="42591"/>
                  </a:moveTo>
                  <a:lnTo>
                    <a:pt x="1420" y="42591"/>
                  </a:lnTo>
                  <a:cubicBezTo>
                    <a:pt x="1420" y="42591"/>
                    <a:pt x="1420" y="42591"/>
                    <a:pt x="2839" y="42591"/>
                  </a:cubicBezTo>
                  <a:cubicBezTo>
                    <a:pt x="2839" y="42591"/>
                    <a:pt x="2839" y="42591"/>
                    <a:pt x="4259" y="42591"/>
                  </a:cubicBezTo>
                  <a:lnTo>
                    <a:pt x="21296" y="1420"/>
                  </a:lnTo>
                  <a:cubicBezTo>
                    <a:pt x="21296" y="1420"/>
                    <a:pt x="21296" y="1420"/>
                    <a:pt x="19876" y="1420"/>
                  </a:cubicBezTo>
                  <a:cubicBezTo>
                    <a:pt x="19876" y="1420"/>
                    <a:pt x="19876" y="1420"/>
                    <a:pt x="18456" y="1420"/>
                  </a:cubicBezTo>
                  <a:lnTo>
                    <a:pt x="17036" y="0"/>
                  </a:lnTo>
                  <a:lnTo>
                    <a:pt x="0" y="42591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" name="任意多边形: 形状 148">
              <a:extLst>
                <a:ext uri="{FF2B5EF4-FFF2-40B4-BE49-F238E27FC236}">
                  <a16:creationId xmlns:a16="http://schemas.microsoft.com/office/drawing/2014/main" id="{BC6D5F3B-B6A6-4CC4-AAA7-6515E24C20B4}"/>
                </a:ext>
              </a:extLst>
            </p:cNvPr>
            <p:cNvSpPr/>
            <p:nvPr userDrawn="1"/>
          </p:nvSpPr>
          <p:spPr>
            <a:xfrm>
              <a:off x="7152864" y="3708322"/>
              <a:ext cx="10266" cy="30798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48270 h 42591"/>
                <a:gd name="connsiteX2" fmla="*/ 0 w 14197"/>
                <a:gd name="connsiteY2" fmla="*/ 46850 h 42591"/>
                <a:gd name="connsiteX3" fmla="*/ 1845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48270"/>
                  </a:lnTo>
                  <a:lnTo>
                    <a:pt x="0" y="46850"/>
                  </a:lnTo>
                  <a:lnTo>
                    <a:pt x="1845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" name="任意多边形: 形状 149">
              <a:extLst>
                <a:ext uri="{FF2B5EF4-FFF2-40B4-BE49-F238E27FC236}">
                  <a16:creationId xmlns:a16="http://schemas.microsoft.com/office/drawing/2014/main" id="{F4BF2EE8-703F-4075-A4A2-CC49B9E567A0}"/>
                </a:ext>
              </a:extLst>
            </p:cNvPr>
            <p:cNvSpPr/>
            <p:nvPr userDrawn="1"/>
          </p:nvSpPr>
          <p:spPr>
            <a:xfrm>
              <a:off x="7178529" y="3717561"/>
              <a:ext cx="10266" cy="30798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49690 h 42591"/>
                <a:gd name="connsiteX2" fmla="*/ 0 w 14197"/>
                <a:gd name="connsiteY2" fmla="*/ 4827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49690"/>
                  </a:lnTo>
                  <a:lnTo>
                    <a:pt x="0" y="4827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" name="任意多边形: 形状 150">
              <a:extLst>
                <a:ext uri="{FF2B5EF4-FFF2-40B4-BE49-F238E27FC236}">
                  <a16:creationId xmlns:a16="http://schemas.microsoft.com/office/drawing/2014/main" id="{B5A1FDA6-50C6-47D4-8FDE-E74A3F691261}"/>
                </a:ext>
              </a:extLst>
            </p:cNvPr>
            <p:cNvSpPr/>
            <p:nvPr userDrawn="1"/>
          </p:nvSpPr>
          <p:spPr>
            <a:xfrm>
              <a:off x="7204194" y="3727827"/>
              <a:ext cx="10266" cy="30798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51109 h 42591"/>
                <a:gd name="connsiteX2" fmla="*/ 0 w 14197"/>
                <a:gd name="connsiteY2" fmla="*/ 4969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51109"/>
                  </a:lnTo>
                  <a:lnTo>
                    <a:pt x="0" y="4969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" name="任意多边形: 形状 151">
              <a:extLst>
                <a:ext uri="{FF2B5EF4-FFF2-40B4-BE49-F238E27FC236}">
                  <a16:creationId xmlns:a16="http://schemas.microsoft.com/office/drawing/2014/main" id="{4CBD3A44-69B8-4F51-990F-33975B953DF4}"/>
                </a:ext>
              </a:extLst>
            </p:cNvPr>
            <p:cNvSpPr/>
            <p:nvPr userDrawn="1"/>
          </p:nvSpPr>
          <p:spPr>
            <a:xfrm>
              <a:off x="7230886" y="3738093"/>
              <a:ext cx="10266" cy="30798"/>
            </a:xfrm>
            <a:custGeom>
              <a:avLst/>
              <a:gdLst>
                <a:gd name="connsiteX0" fmla="*/ 22715 w 14197"/>
                <a:gd name="connsiteY0" fmla="*/ 0 h 42591"/>
                <a:gd name="connsiteX1" fmla="*/ 2839 w 14197"/>
                <a:gd name="connsiteY1" fmla="*/ 51109 h 42591"/>
                <a:gd name="connsiteX2" fmla="*/ 0 w 14197"/>
                <a:gd name="connsiteY2" fmla="*/ 49690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0"/>
                  </a:moveTo>
                  <a:lnTo>
                    <a:pt x="2839" y="51109"/>
                  </a:lnTo>
                  <a:lnTo>
                    <a:pt x="0" y="49690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" name="任意多边形: 形状 152">
              <a:extLst>
                <a:ext uri="{FF2B5EF4-FFF2-40B4-BE49-F238E27FC236}">
                  <a16:creationId xmlns:a16="http://schemas.microsoft.com/office/drawing/2014/main" id="{D55FB064-028B-482C-A686-0FA993B3E97C}"/>
                </a:ext>
              </a:extLst>
            </p:cNvPr>
            <p:cNvSpPr/>
            <p:nvPr userDrawn="1"/>
          </p:nvSpPr>
          <p:spPr>
            <a:xfrm>
              <a:off x="7257577" y="3747333"/>
              <a:ext cx="10266" cy="30798"/>
            </a:xfrm>
            <a:custGeom>
              <a:avLst/>
              <a:gdLst>
                <a:gd name="connsiteX0" fmla="*/ 22715 w 14197"/>
                <a:gd name="connsiteY0" fmla="*/ 1420 h 42591"/>
                <a:gd name="connsiteX1" fmla="*/ 2839 w 14197"/>
                <a:gd name="connsiteY1" fmla="*/ 53949 h 42591"/>
                <a:gd name="connsiteX2" fmla="*/ 0 w 14197"/>
                <a:gd name="connsiteY2" fmla="*/ 52529 h 42591"/>
                <a:gd name="connsiteX3" fmla="*/ 1987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2715" y="1420"/>
                  </a:moveTo>
                  <a:lnTo>
                    <a:pt x="2839" y="53949"/>
                  </a:lnTo>
                  <a:lnTo>
                    <a:pt x="0" y="52529"/>
                  </a:lnTo>
                  <a:lnTo>
                    <a:pt x="1987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" name="任意多边形: 形状 153">
              <a:extLst>
                <a:ext uri="{FF2B5EF4-FFF2-40B4-BE49-F238E27FC236}">
                  <a16:creationId xmlns:a16="http://schemas.microsoft.com/office/drawing/2014/main" id="{2455D774-A2AC-46E5-A831-5F089C5C6F8E}"/>
                </a:ext>
              </a:extLst>
            </p:cNvPr>
            <p:cNvSpPr/>
            <p:nvPr userDrawn="1"/>
          </p:nvSpPr>
          <p:spPr>
            <a:xfrm>
              <a:off x="7287348" y="3759652"/>
              <a:ext cx="10266" cy="30798"/>
            </a:xfrm>
            <a:custGeom>
              <a:avLst/>
              <a:gdLst>
                <a:gd name="connsiteX0" fmla="*/ 24135 w 14197"/>
                <a:gd name="connsiteY0" fmla="*/ 0 h 42591"/>
                <a:gd name="connsiteX1" fmla="*/ 2839 w 14197"/>
                <a:gd name="connsiteY1" fmla="*/ 53949 h 42591"/>
                <a:gd name="connsiteX2" fmla="*/ 0 w 14197"/>
                <a:gd name="connsiteY2" fmla="*/ 52529 h 42591"/>
                <a:gd name="connsiteX3" fmla="*/ 21296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4135" y="0"/>
                  </a:moveTo>
                  <a:lnTo>
                    <a:pt x="2839" y="53949"/>
                  </a:lnTo>
                  <a:lnTo>
                    <a:pt x="0" y="52529"/>
                  </a:lnTo>
                  <a:lnTo>
                    <a:pt x="21296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" name="任意多边形: 形状 154">
              <a:extLst>
                <a:ext uri="{FF2B5EF4-FFF2-40B4-BE49-F238E27FC236}">
                  <a16:creationId xmlns:a16="http://schemas.microsoft.com/office/drawing/2014/main" id="{867B8A04-E079-422E-AE6A-1ABDC6F567A2}"/>
                </a:ext>
              </a:extLst>
            </p:cNvPr>
            <p:cNvSpPr/>
            <p:nvPr userDrawn="1"/>
          </p:nvSpPr>
          <p:spPr>
            <a:xfrm>
              <a:off x="7317120" y="3770945"/>
              <a:ext cx="10266" cy="30798"/>
            </a:xfrm>
            <a:custGeom>
              <a:avLst/>
              <a:gdLst>
                <a:gd name="connsiteX0" fmla="*/ 25555 w 14197"/>
                <a:gd name="connsiteY0" fmla="*/ 0 h 42591"/>
                <a:gd name="connsiteX1" fmla="*/ 2839 w 14197"/>
                <a:gd name="connsiteY1" fmla="*/ 55368 h 42591"/>
                <a:gd name="connsiteX2" fmla="*/ 0 w 14197"/>
                <a:gd name="connsiteY2" fmla="*/ 55368 h 42591"/>
                <a:gd name="connsiteX3" fmla="*/ 22715 w 14197"/>
                <a:gd name="connsiteY3" fmla="*/ 0 h 4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42591">
                  <a:moveTo>
                    <a:pt x="25555" y="0"/>
                  </a:moveTo>
                  <a:lnTo>
                    <a:pt x="2839" y="55368"/>
                  </a:lnTo>
                  <a:lnTo>
                    <a:pt x="0" y="5536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" name="任意多边形: 形状 155">
              <a:extLst>
                <a:ext uri="{FF2B5EF4-FFF2-40B4-BE49-F238E27FC236}">
                  <a16:creationId xmlns:a16="http://schemas.microsoft.com/office/drawing/2014/main" id="{41F483DA-E6E3-42D6-B680-38F3D6D1E77F}"/>
                </a:ext>
              </a:extLst>
            </p:cNvPr>
            <p:cNvSpPr/>
            <p:nvPr userDrawn="1"/>
          </p:nvSpPr>
          <p:spPr>
            <a:xfrm>
              <a:off x="7339704" y="3779157"/>
              <a:ext cx="10266" cy="41064"/>
            </a:xfrm>
            <a:custGeom>
              <a:avLst/>
              <a:gdLst>
                <a:gd name="connsiteX0" fmla="*/ 25555 w 14197"/>
                <a:gd name="connsiteY0" fmla="*/ 1420 h 56788"/>
                <a:gd name="connsiteX1" fmla="*/ 2839 w 14197"/>
                <a:gd name="connsiteY1" fmla="*/ 56788 h 56788"/>
                <a:gd name="connsiteX2" fmla="*/ 0 w 14197"/>
                <a:gd name="connsiteY2" fmla="*/ 55368 h 56788"/>
                <a:gd name="connsiteX3" fmla="*/ 2271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1420"/>
                  </a:moveTo>
                  <a:lnTo>
                    <a:pt x="2839" y="56788"/>
                  </a:lnTo>
                  <a:lnTo>
                    <a:pt x="0" y="5536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AF1A2C65-8AFC-4027-801C-0189BC49A4C8}"/>
                </a:ext>
              </a:extLst>
            </p:cNvPr>
            <p:cNvSpPr/>
            <p:nvPr userDrawn="1"/>
          </p:nvSpPr>
          <p:spPr>
            <a:xfrm>
              <a:off x="7362290" y="3787370"/>
              <a:ext cx="10266" cy="41064"/>
            </a:xfrm>
            <a:custGeom>
              <a:avLst/>
              <a:gdLst>
                <a:gd name="connsiteX0" fmla="*/ 22715 w 14197"/>
                <a:gd name="connsiteY0" fmla="*/ 0 h 56788"/>
                <a:gd name="connsiteX1" fmla="*/ 25555 w 14197"/>
                <a:gd name="connsiteY1" fmla="*/ 1420 h 56788"/>
                <a:gd name="connsiteX2" fmla="*/ 2839 w 14197"/>
                <a:gd name="connsiteY2" fmla="*/ 58208 h 56788"/>
                <a:gd name="connsiteX3" fmla="*/ 0 w 14197"/>
                <a:gd name="connsiteY3" fmla="*/ 56788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2715" y="0"/>
                  </a:moveTo>
                  <a:lnTo>
                    <a:pt x="25555" y="1420"/>
                  </a:lnTo>
                  <a:lnTo>
                    <a:pt x="2839" y="58208"/>
                  </a:lnTo>
                  <a:lnTo>
                    <a:pt x="0" y="56788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" name="任意多边形: 形状 157">
              <a:extLst>
                <a:ext uri="{FF2B5EF4-FFF2-40B4-BE49-F238E27FC236}">
                  <a16:creationId xmlns:a16="http://schemas.microsoft.com/office/drawing/2014/main" id="{B3D6F2B8-590B-44C7-8667-553FC25768D0}"/>
                </a:ext>
              </a:extLst>
            </p:cNvPr>
            <p:cNvSpPr/>
            <p:nvPr userDrawn="1"/>
          </p:nvSpPr>
          <p:spPr>
            <a:xfrm>
              <a:off x="7378715" y="3793529"/>
              <a:ext cx="10266" cy="41064"/>
            </a:xfrm>
            <a:custGeom>
              <a:avLst/>
              <a:gdLst>
                <a:gd name="connsiteX0" fmla="*/ 25555 w 14197"/>
                <a:gd name="connsiteY0" fmla="*/ 1420 h 56788"/>
                <a:gd name="connsiteX1" fmla="*/ 2839 w 14197"/>
                <a:gd name="connsiteY1" fmla="*/ 59627 h 56788"/>
                <a:gd name="connsiteX2" fmla="*/ 0 w 14197"/>
                <a:gd name="connsiteY2" fmla="*/ 58208 h 56788"/>
                <a:gd name="connsiteX3" fmla="*/ 2271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1420"/>
                  </a:moveTo>
                  <a:lnTo>
                    <a:pt x="2839" y="59627"/>
                  </a:lnTo>
                  <a:lnTo>
                    <a:pt x="0" y="58208"/>
                  </a:lnTo>
                  <a:lnTo>
                    <a:pt x="2271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" name="任意多边形: 形状 158">
              <a:extLst>
                <a:ext uri="{FF2B5EF4-FFF2-40B4-BE49-F238E27FC236}">
                  <a16:creationId xmlns:a16="http://schemas.microsoft.com/office/drawing/2014/main" id="{467D7AA6-BEA7-47F8-B3A9-F33A5BAD7299}"/>
                </a:ext>
              </a:extLst>
            </p:cNvPr>
            <p:cNvSpPr/>
            <p:nvPr userDrawn="1"/>
          </p:nvSpPr>
          <p:spPr>
            <a:xfrm>
              <a:off x="7394114" y="3799689"/>
              <a:ext cx="10266" cy="41064"/>
            </a:xfrm>
            <a:custGeom>
              <a:avLst/>
              <a:gdLst>
                <a:gd name="connsiteX0" fmla="*/ 26974 w 14197"/>
                <a:gd name="connsiteY0" fmla="*/ 1420 h 56788"/>
                <a:gd name="connsiteX1" fmla="*/ 2839 w 14197"/>
                <a:gd name="connsiteY1" fmla="*/ 61047 h 56788"/>
                <a:gd name="connsiteX2" fmla="*/ 0 w 14197"/>
                <a:gd name="connsiteY2" fmla="*/ 59627 h 56788"/>
                <a:gd name="connsiteX3" fmla="*/ 2413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6974" y="1420"/>
                  </a:moveTo>
                  <a:lnTo>
                    <a:pt x="2839" y="61047"/>
                  </a:lnTo>
                  <a:lnTo>
                    <a:pt x="0" y="59627"/>
                  </a:lnTo>
                  <a:lnTo>
                    <a:pt x="2413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2CB2C04E-3FE5-44D9-9E8D-499D09C7604F}"/>
                </a:ext>
              </a:extLst>
            </p:cNvPr>
            <p:cNvSpPr/>
            <p:nvPr userDrawn="1"/>
          </p:nvSpPr>
          <p:spPr>
            <a:xfrm>
              <a:off x="7410540" y="3805849"/>
              <a:ext cx="20532" cy="41064"/>
            </a:xfrm>
            <a:custGeom>
              <a:avLst/>
              <a:gdLst>
                <a:gd name="connsiteX0" fmla="*/ 28394 w 28394"/>
                <a:gd name="connsiteY0" fmla="*/ 1420 h 56788"/>
                <a:gd name="connsiteX1" fmla="*/ 2839 w 28394"/>
                <a:gd name="connsiteY1" fmla="*/ 61047 h 56788"/>
                <a:gd name="connsiteX2" fmla="*/ 0 w 28394"/>
                <a:gd name="connsiteY2" fmla="*/ 59628 h 56788"/>
                <a:gd name="connsiteX3" fmla="*/ 24135 w 28394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8394" y="1420"/>
                  </a:moveTo>
                  <a:lnTo>
                    <a:pt x="2839" y="61047"/>
                  </a:lnTo>
                  <a:lnTo>
                    <a:pt x="0" y="59628"/>
                  </a:lnTo>
                  <a:lnTo>
                    <a:pt x="2413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" name="任意多边形: 形状 160">
              <a:extLst>
                <a:ext uri="{FF2B5EF4-FFF2-40B4-BE49-F238E27FC236}">
                  <a16:creationId xmlns:a16="http://schemas.microsoft.com/office/drawing/2014/main" id="{33207A1C-DB54-4C01-9051-98007015E777}"/>
                </a:ext>
              </a:extLst>
            </p:cNvPr>
            <p:cNvSpPr/>
            <p:nvPr userDrawn="1"/>
          </p:nvSpPr>
          <p:spPr>
            <a:xfrm>
              <a:off x="7426794" y="3811989"/>
              <a:ext cx="10266" cy="41064"/>
            </a:xfrm>
            <a:custGeom>
              <a:avLst/>
              <a:gdLst>
                <a:gd name="connsiteX0" fmla="*/ 0 w 14197"/>
                <a:gd name="connsiteY0" fmla="*/ 60552 h 56788"/>
                <a:gd name="connsiteX1" fmla="*/ 24464 w 14197"/>
                <a:gd name="connsiteY1" fmla="*/ 0 h 56788"/>
                <a:gd name="connsiteX2" fmla="*/ 27096 w 14197"/>
                <a:gd name="connsiteY2" fmla="*/ 1064 h 56788"/>
                <a:gd name="connsiteX3" fmla="*/ 2633 w 14197"/>
                <a:gd name="connsiteY3" fmla="*/ 61616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0" y="60552"/>
                  </a:moveTo>
                  <a:lnTo>
                    <a:pt x="24464" y="0"/>
                  </a:lnTo>
                  <a:lnTo>
                    <a:pt x="27096" y="1064"/>
                  </a:lnTo>
                  <a:lnTo>
                    <a:pt x="2633" y="61616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E323791F-E47B-4147-94A1-69BD98F75948}"/>
                </a:ext>
              </a:extLst>
            </p:cNvPr>
            <p:cNvSpPr/>
            <p:nvPr userDrawn="1"/>
          </p:nvSpPr>
          <p:spPr>
            <a:xfrm>
              <a:off x="7441337" y="3818168"/>
              <a:ext cx="20532" cy="41064"/>
            </a:xfrm>
            <a:custGeom>
              <a:avLst/>
              <a:gdLst>
                <a:gd name="connsiteX0" fmla="*/ 25555 w 28394"/>
                <a:gd name="connsiteY0" fmla="*/ 0 h 56788"/>
                <a:gd name="connsiteX1" fmla="*/ 28394 w 28394"/>
                <a:gd name="connsiteY1" fmla="*/ 0 h 56788"/>
                <a:gd name="connsiteX2" fmla="*/ 2839 w 28394"/>
                <a:gd name="connsiteY2" fmla="*/ 62467 h 56788"/>
                <a:gd name="connsiteX3" fmla="*/ 0 w 28394"/>
                <a:gd name="connsiteY3" fmla="*/ 61047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5555" y="0"/>
                  </a:moveTo>
                  <a:lnTo>
                    <a:pt x="28394" y="0"/>
                  </a:lnTo>
                  <a:lnTo>
                    <a:pt x="2839" y="62467"/>
                  </a:lnTo>
                  <a:lnTo>
                    <a:pt x="0" y="61047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" name="任意多边形: 形状 162">
              <a:extLst>
                <a:ext uri="{FF2B5EF4-FFF2-40B4-BE49-F238E27FC236}">
                  <a16:creationId xmlns:a16="http://schemas.microsoft.com/office/drawing/2014/main" id="{EB90517A-A3FF-4CD2-858D-4FEF1D58B918}"/>
                </a:ext>
              </a:extLst>
            </p:cNvPr>
            <p:cNvSpPr/>
            <p:nvPr userDrawn="1"/>
          </p:nvSpPr>
          <p:spPr>
            <a:xfrm>
              <a:off x="7456736" y="3823301"/>
              <a:ext cx="20532" cy="41064"/>
            </a:xfrm>
            <a:custGeom>
              <a:avLst/>
              <a:gdLst>
                <a:gd name="connsiteX0" fmla="*/ 28394 w 28394"/>
                <a:gd name="connsiteY0" fmla="*/ 1420 h 56788"/>
                <a:gd name="connsiteX1" fmla="*/ 2839 w 28394"/>
                <a:gd name="connsiteY1" fmla="*/ 63887 h 56788"/>
                <a:gd name="connsiteX2" fmla="*/ 0 w 28394"/>
                <a:gd name="connsiteY2" fmla="*/ 62467 h 56788"/>
                <a:gd name="connsiteX3" fmla="*/ 25555 w 28394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4" h="56788">
                  <a:moveTo>
                    <a:pt x="28394" y="1420"/>
                  </a:moveTo>
                  <a:lnTo>
                    <a:pt x="2839" y="63887"/>
                  </a:lnTo>
                  <a:lnTo>
                    <a:pt x="0" y="62467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13FE9E53-6F6A-4809-845C-3AFBB038E1B8}"/>
                </a:ext>
              </a:extLst>
            </p:cNvPr>
            <p:cNvSpPr/>
            <p:nvPr userDrawn="1"/>
          </p:nvSpPr>
          <p:spPr>
            <a:xfrm>
              <a:off x="7473161" y="3829460"/>
              <a:ext cx="10266" cy="41064"/>
            </a:xfrm>
            <a:custGeom>
              <a:avLst/>
              <a:gdLst>
                <a:gd name="connsiteX0" fmla="*/ 25555 w 14197"/>
                <a:gd name="connsiteY0" fmla="*/ 0 h 56788"/>
                <a:gd name="connsiteX1" fmla="*/ 0 w 14197"/>
                <a:gd name="connsiteY1" fmla="*/ 63887 h 56788"/>
                <a:gd name="connsiteX2" fmla="*/ 0 w 14197"/>
                <a:gd name="connsiteY2" fmla="*/ 62467 h 56788"/>
                <a:gd name="connsiteX3" fmla="*/ 25555 w 14197"/>
                <a:gd name="connsiteY3" fmla="*/ 0 h 5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56788">
                  <a:moveTo>
                    <a:pt x="25555" y="0"/>
                  </a:moveTo>
                  <a:lnTo>
                    <a:pt x="0" y="63887"/>
                  </a:lnTo>
                  <a:lnTo>
                    <a:pt x="0" y="62467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CEBFA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" name="任意多边形: 形状 164">
              <a:extLst>
                <a:ext uri="{FF2B5EF4-FFF2-40B4-BE49-F238E27FC236}">
                  <a16:creationId xmlns:a16="http://schemas.microsoft.com/office/drawing/2014/main" id="{CA566C09-0CE4-48E6-9951-02BC112799DA}"/>
                </a:ext>
              </a:extLst>
            </p:cNvPr>
            <p:cNvSpPr/>
            <p:nvPr userDrawn="1"/>
          </p:nvSpPr>
          <p:spPr>
            <a:xfrm>
              <a:off x="6972184" y="3641593"/>
              <a:ext cx="698083" cy="256649"/>
            </a:xfrm>
            <a:custGeom>
              <a:avLst/>
              <a:gdLst>
                <a:gd name="connsiteX0" fmla="*/ 56788 w 965397"/>
                <a:gd name="connsiteY0" fmla="*/ 28394 h 354925"/>
                <a:gd name="connsiteX1" fmla="*/ 0 w 965397"/>
                <a:gd name="connsiteY1" fmla="*/ 2839 h 354925"/>
                <a:gd name="connsiteX2" fmla="*/ 1420 w 965397"/>
                <a:gd name="connsiteY2" fmla="*/ 0 h 354925"/>
                <a:gd name="connsiteX3" fmla="*/ 56788 w 965397"/>
                <a:gd name="connsiteY3" fmla="*/ 25555 h 354925"/>
                <a:gd name="connsiteX4" fmla="*/ 93700 w 965397"/>
                <a:gd name="connsiteY4" fmla="*/ 29814 h 354925"/>
                <a:gd name="connsiteX5" fmla="*/ 965397 w 965397"/>
                <a:gd name="connsiteY5" fmla="*/ 363444 h 354925"/>
                <a:gd name="connsiteX6" fmla="*/ 963978 w 965397"/>
                <a:gd name="connsiteY6" fmla="*/ 366283 h 354925"/>
                <a:gd name="connsiteX7" fmla="*/ 93700 w 965397"/>
                <a:gd name="connsiteY7" fmla="*/ 31234 h 35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65397" h="354925">
                  <a:moveTo>
                    <a:pt x="56788" y="28394"/>
                  </a:moveTo>
                  <a:lnTo>
                    <a:pt x="0" y="2839"/>
                  </a:lnTo>
                  <a:lnTo>
                    <a:pt x="1420" y="0"/>
                  </a:lnTo>
                  <a:lnTo>
                    <a:pt x="56788" y="25555"/>
                  </a:lnTo>
                  <a:lnTo>
                    <a:pt x="93700" y="29814"/>
                  </a:lnTo>
                  <a:lnTo>
                    <a:pt x="965397" y="363444"/>
                  </a:lnTo>
                  <a:lnTo>
                    <a:pt x="963978" y="366283"/>
                  </a:lnTo>
                  <a:lnTo>
                    <a:pt x="93700" y="3123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" name="任意多边形: 形状 165">
              <a:extLst>
                <a:ext uri="{FF2B5EF4-FFF2-40B4-BE49-F238E27FC236}">
                  <a16:creationId xmlns:a16="http://schemas.microsoft.com/office/drawing/2014/main" id="{D1EA5632-3FBA-475C-B9A4-52E8E5E1466E}"/>
                </a:ext>
              </a:extLst>
            </p:cNvPr>
            <p:cNvSpPr/>
            <p:nvPr userDrawn="1"/>
          </p:nvSpPr>
          <p:spPr>
            <a:xfrm>
              <a:off x="7013248" y="3660072"/>
              <a:ext cx="646754" cy="246382"/>
            </a:xfrm>
            <a:custGeom>
              <a:avLst/>
              <a:gdLst>
                <a:gd name="connsiteX0" fmla="*/ 0 w 894412"/>
                <a:gd name="connsiteY0" fmla="*/ 2839 h 340728"/>
                <a:gd name="connsiteX1" fmla="*/ 1420 w 894412"/>
                <a:gd name="connsiteY1" fmla="*/ 0 h 340728"/>
                <a:gd name="connsiteX2" fmla="*/ 34073 w 894412"/>
                <a:gd name="connsiteY2" fmla="*/ 12777 h 340728"/>
                <a:gd name="connsiteX3" fmla="*/ 902930 w 894412"/>
                <a:gd name="connsiteY3" fmla="*/ 350666 h 340728"/>
                <a:gd name="connsiteX4" fmla="*/ 902930 w 894412"/>
                <a:gd name="connsiteY4" fmla="*/ 353506 h 340728"/>
                <a:gd name="connsiteX5" fmla="*/ 32653 w 894412"/>
                <a:gd name="connsiteY5" fmla="*/ 15617 h 340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4412" h="340728">
                  <a:moveTo>
                    <a:pt x="0" y="2839"/>
                  </a:moveTo>
                  <a:lnTo>
                    <a:pt x="1420" y="0"/>
                  </a:lnTo>
                  <a:lnTo>
                    <a:pt x="34073" y="12777"/>
                  </a:lnTo>
                  <a:lnTo>
                    <a:pt x="902930" y="350666"/>
                  </a:lnTo>
                  <a:lnTo>
                    <a:pt x="902930" y="353506"/>
                  </a:lnTo>
                  <a:lnTo>
                    <a:pt x="32653" y="15617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" name="任意多边形: 形状 166">
              <a:extLst>
                <a:ext uri="{FF2B5EF4-FFF2-40B4-BE49-F238E27FC236}">
                  <a16:creationId xmlns:a16="http://schemas.microsoft.com/office/drawing/2014/main" id="{28F90DE0-37F7-497A-BBDF-02219FBB6A62}"/>
                </a:ext>
              </a:extLst>
            </p:cNvPr>
            <p:cNvSpPr/>
            <p:nvPr userDrawn="1"/>
          </p:nvSpPr>
          <p:spPr>
            <a:xfrm>
              <a:off x="6972184" y="3641593"/>
              <a:ext cx="687817" cy="277181"/>
            </a:xfrm>
            <a:custGeom>
              <a:avLst/>
              <a:gdLst>
                <a:gd name="connsiteX0" fmla="*/ 0 w 951200"/>
                <a:gd name="connsiteY0" fmla="*/ 2839 h 383319"/>
                <a:gd name="connsiteX1" fmla="*/ 1420 w 951200"/>
                <a:gd name="connsiteY1" fmla="*/ 0 h 383319"/>
                <a:gd name="connsiteX2" fmla="*/ 88021 w 951200"/>
                <a:gd name="connsiteY2" fmla="*/ 46850 h 383319"/>
                <a:gd name="connsiteX3" fmla="*/ 955459 w 951200"/>
                <a:gd name="connsiteY3" fmla="*/ 388998 h 383319"/>
                <a:gd name="connsiteX4" fmla="*/ 954040 w 951200"/>
                <a:gd name="connsiteY4" fmla="*/ 390418 h 383319"/>
                <a:gd name="connsiteX5" fmla="*/ 86602 w 951200"/>
                <a:gd name="connsiteY5" fmla="*/ 49690 h 383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1200" h="383319">
                  <a:moveTo>
                    <a:pt x="0" y="2839"/>
                  </a:moveTo>
                  <a:lnTo>
                    <a:pt x="1420" y="0"/>
                  </a:lnTo>
                  <a:lnTo>
                    <a:pt x="88021" y="46850"/>
                  </a:lnTo>
                  <a:lnTo>
                    <a:pt x="955459" y="388998"/>
                  </a:lnTo>
                  <a:lnTo>
                    <a:pt x="954040" y="390418"/>
                  </a:lnTo>
                  <a:lnTo>
                    <a:pt x="86602" y="49690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" name="任意多边形: 形状 167">
              <a:extLst>
                <a:ext uri="{FF2B5EF4-FFF2-40B4-BE49-F238E27FC236}">
                  <a16:creationId xmlns:a16="http://schemas.microsoft.com/office/drawing/2014/main" id="{DEBAE817-7F73-470B-B495-771112F43222}"/>
                </a:ext>
              </a:extLst>
            </p:cNvPr>
            <p:cNvSpPr/>
            <p:nvPr userDrawn="1"/>
          </p:nvSpPr>
          <p:spPr>
            <a:xfrm>
              <a:off x="6978344" y="3662125"/>
              <a:ext cx="677551" cy="266915"/>
            </a:xfrm>
            <a:custGeom>
              <a:avLst/>
              <a:gdLst>
                <a:gd name="connsiteX0" fmla="*/ 0 w 937003"/>
                <a:gd name="connsiteY0" fmla="*/ 1420 h 369122"/>
                <a:gd name="connsiteX1" fmla="*/ 1420 w 937003"/>
                <a:gd name="connsiteY1" fmla="*/ 0 h 369122"/>
                <a:gd name="connsiteX2" fmla="*/ 75244 w 937003"/>
                <a:gd name="connsiteY2" fmla="*/ 26974 h 369122"/>
                <a:gd name="connsiteX3" fmla="*/ 941263 w 937003"/>
                <a:gd name="connsiteY3" fmla="*/ 373382 h 369122"/>
                <a:gd name="connsiteX4" fmla="*/ 941263 w 937003"/>
                <a:gd name="connsiteY4" fmla="*/ 374801 h 369122"/>
                <a:gd name="connsiteX5" fmla="*/ 73825 w 937003"/>
                <a:gd name="connsiteY5" fmla="*/ 29814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7003" h="369122">
                  <a:moveTo>
                    <a:pt x="0" y="1420"/>
                  </a:moveTo>
                  <a:lnTo>
                    <a:pt x="1420" y="0"/>
                  </a:lnTo>
                  <a:lnTo>
                    <a:pt x="75244" y="26974"/>
                  </a:lnTo>
                  <a:lnTo>
                    <a:pt x="941263" y="373382"/>
                  </a:lnTo>
                  <a:lnTo>
                    <a:pt x="941263" y="374801"/>
                  </a:lnTo>
                  <a:lnTo>
                    <a:pt x="73825" y="2981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9" name="任意多边形: 形状 168">
              <a:extLst>
                <a:ext uri="{FF2B5EF4-FFF2-40B4-BE49-F238E27FC236}">
                  <a16:creationId xmlns:a16="http://schemas.microsoft.com/office/drawing/2014/main" id="{E1A27988-CEE2-45AD-AC08-CC121D1E9B54}"/>
                </a:ext>
              </a:extLst>
            </p:cNvPr>
            <p:cNvSpPr/>
            <p:nvPr userDrawn="1"/>
          </p:nvSpPr>
          <p:spPr>
            <a:xfrm>
              <a:off x="6998875" y="3670338"/>
              <a:ext cx="657020" cy="266915"/>
            </a:xfrm>
            <a:custGeom>
              <a:avLst/>
              <a:gdLst>
                <a:gd name="connsiteX0" fmla="*/ 0 w 908609"/>
                <a:gd name="connsiteY0" fmla="*/ 2839 h 369122"/>
                <a:gd name="connsiteX1" fmla="*/ 1420 w 908609"/>
                <a:gd name="connsiteY1" fmla="*/ 0 h 369122"/>
                <a:gd name="connsiteX2" fmla="*/ 44011 w 908609"/>
                <a:gd name="connsiteY2" fmla="*/ 25555 h 369122"/>
                <a:gd name="connsiteX3" fmla="*/ 908609 w 908609"/>
                <a:gd name="connsiteY3" fmla="*/ 373382 h 369122"/>
                <a:gd name="connsiteX4" fmla="*/ 907190 w 908609"/>
                <a:gd name="connsiteY4" fmla="*/ 376221 h 369122"/>
                <a:gd name="connsiteX5" fmla="*/ 42591 w 908609"/>
                <a:gd name="connsiteY5" fmla="*/ 26974 h 36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8609" h="369122">
                  <a:moveTo>
                    <a:pt x="0" y="2839"/>
                  </a:moveTo>
                  <a:lnTo>
                    <a:pt x="1420" y="0"/>
                  </a:lnTo>
                  <a:lnTo>
                    <a:pt x="44011" y="25555"/>
                  </a:lnTo>
                  <a:lnTo>
                    <a:pt x="908609" y="373382"/>
                  </a:lnTo>
                  <a:lnTo>
                    <a:pt x="907190" y="376221"/>
                  </a:lnTo>
                  <a:lnTo>
                    <a:pt x="42591" y="26974"/>
                  </a:lnTo>
                  <a:close/>
                </a:path>
              </a:pathLst>
            </a:custGeom>
            <a:solidFill>
              <a:srgbClr val="CCBEA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0" name="任意多边形: 形状 169">
              <a:extLst>
                <a:ext uri="{FF2B5EF4-FFF2-40B4-BE49-F238E27FC236}">
                  <a16:creationId xmlns:a16="http://schemas.microsoft.com/office/drawing/2014/main" id="{C839F7F2-72B1-46A4-9468-7CC26B126DCC}"/>
                </a:ext>
              </a:extLst>
            </p:cNvPr>
            <p:cNvSpPr/>
            <p:nvPr userDrawn="1"/>
          </p:nvSpPr>
          <p:spPr>
            <a:xfrm>
              <a:off x="6993463" y="3669935"/>
              <a:ext cx="10266" cy="10266"/>
            </a:xfrm>
            <a:custGeom>
              <a:avLst/>
              <a:gdLst>
                <a:gd name="connsiteX0" fmla="*/ 387 w 0"/>
                <a:gd name="connsiteY0" fmla="*/ 3396 h 0"/>
                <a:gd name="connsiteX1" fmla="*/ 8905 w 0"/>
                <a:gd name="connsiteY1" fmla="*/ 557 h 0"/>
                <a:gd name="connsiteX2" fmla="*/ 8905 w 0"/>
                <a:gd name="connsiteY2" fmla="*/ 557 h 0"/>
                <a:gd name="connsiteX3" fmla="*/ 10325 w 0"/>
                <a:gd name="connsiteY3" fmla="*/ 1977 h 0"/>
                <a:gd name="connsiteX4" fmla="*/ 11745 w 0"/>
                <a:gd name="connsiteY4" fmla="*/ 3396 h 0"/>
                <a:gd name="connsiteX5" fmla="*/ 11745 w 0"/>
                <a:gd name="connsiteY5" fmla="*/ 3396 h 0"/>
                <a:gd name="connsiteX6" fmla="*/ 11745 w 0"/>
                <a:gd name="connsiteY6" fmla="*/ 4816 h 0"/>
                <a:gd name="connsiteX7" fmla="*/ 11745 w 0"/>
                <a:gd name="connsiteY7" fmla="*/ 7655 h 0"/>
                <a:gd name="connsiteX8" fmla="*/ 11745 w 0"/>
                <a:gd name="connsiteY8" fmla="*/ 7655 h 0"/>
                <a:gd name="connsiteX9" fmla="*/ 11745 w 0"/>
                <a:gd name="connsiteY9" fmla="*/ 9075 h 0"/>
                <a:gd name="connsiteX10" fmla="*/ 3226 w 0"/>
                <a:gd name="connsiteY10" fmla="*/ 11914 h 0"/>
                <a:gd name="connsiteX11" fmla="*/ 3226 w 0"/>
                <a:gd name="connsiteY11" fmla="*/ 11914 h 0"/>
                <a:gd name="connsiteX12" fmla="*/ 387 w 0"/>
                <a:gd name="connsiteY12" fmla="*/ 339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>
                  <a:moveTo>
                    <a:pt x="387" y="3396"/>
                  </a:moveTo>
                  <a:cubicBezTo>
                    <a:pt x="1807" y="557"/>
                    <a:pt x="6066" y="-863"/>
                    <a:pt x="8905" y="557"/>
                  </a:cubicBezTo>
                  <a:lnTo>
                    <a:pt x="8905" y="557"/>
                  </a:lnTo>
                  <a:cubicBezTo>
                    <a:pt x="8905" y="557"/>
                    <a:pt x="10325" y="557"/>
                    <a:pt x="10325" y="1977"/>
                  </a:cubicBezTo>
                  <a:cubicBezTo>
                    <a:pt x="10325" y="1977"/>
                    <a:pt x="10325" y="1977"/>
                    <a:pt x="11745" y="3396"/>
                  </a:cubicBezTo>
                  <a:cubicBezTo>
                    <a:pt x="11745" y="3396"/>
                    <a:pt x="11745" y="3396"/>
                    <a:pt x="11745" y="3396"/>
                  </a:cubicBezTo>
                  <a:cubicBezTo>
                    <a:pt x="11745" y="3396"/>
                    <a:pt x="11745" y="3396"/>
                    <a:pt x="11745" y="4816"/>
                  </a:cubicBezTo>
                  <a:cubicBezTo>
                    <a:pt x="11745" y="6236"/>
                    <a:pt x="11745" y="6236"/>
                    <a:pt x="11745" y="7655"/>
                  </a:cubicBezTo>
                  <a:cubicBezTo>
                    <a:pt x="11745" y="7655"/>
                    <a:pt x="11745" y="7655"/>
                    <a:pt x="11745" y="7655"/>
                  </a:cubicBezTo>
                  <a:cubicBezTo>
                    <a:pt x="11745" y="7655"/>
                    <a:pt x="11745" y="9075"/>
                    <a:pt x="11745" y="9075"/>
                  </a:cubicBezTo>
                  <a:cubicBezTo>
                    <a:pt x="10325" y="11914"/>
                    <a:pt x="6066" y="13334"/>
                    <a:pt x="3226" y="11914"/>
                  </a:cubicBezTo>
                  <a:lnTo>
                    <a:pt x="3226" y="11914"/>
                  </a:lnTo>
                  <a:cubicBezTo>
                    <a:pt x="1807" y="9075"/>
                    <a:pt x="-1033" y="6236"/>
                    <a:pt x="387" y="3396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" name="任意多边形: 形状 170">
              <a:extLst>
                <a:ext uri="{FF2B5EF4-FFF2-40B4-BE49-F238E27FC236}">
                  <a16:creationId xmlns:a16="http://schemas.microsoft.com/office/drawing/2014/main" id="{5EEB1AA2-4416-44E8-8B75-16F3E92AEF9D}"/>
                </a:ext>
              </a:extLst>
            </p:cNvPr>
            <p:cNvSpPr/>
            <p:nvPr userDrawn="1"/>
          </p:nvSpPr>
          <p:spPr>
            <a:xfrm>
              <a:off x="6989251" y="3643244"/>
              <a:ext cx="10266" cy="10266"/>
            </a:xfrm>
            <a:custGeom>
              <a:avLst/>
              <a:gdLst>
                <a:gd name="connsiteX0" fmla="*/ 4792 w 0"/>
                <a:gd name="connsiteY0" fmla="*/ 11915 h 0"/>
                <a:gd name="connsiteX1" fmla="*/ 4792 w 0"/>
                <a:gd name="connsiteY1" fmla="*/ 11915 h 0"/>
                <a:gd name="connsiteX2" fmla="*/ 4792 w 0"/>
                <a:gd name="connsiteY2" fmla="*/ 11915 h 0"/>
                <a:gd name="connsiteX3" fmla="*/ 532 w 0"/>
                <a:gd name="connsiteY3" fmla="*/ 3396 h 0"/>
                <a:gd name="connsiteX4" fmla="*/ 9051 w 0"/>
                <a:gd name="connsiteY4" fmla="*/ 557 h 0"/>
                <a:gd name="connsiteX5" fmla="*/ 9051 w 0"/>
                <a:gd name="connsiteY5" fmla="*/ 557 h 0"/>
                <a:gd name="connsiteX6" fmla="*/ 9051 w 0"/>
                <a:gd name="connsiteY6" fmla="*/ 557 h 0"/>
                <a:gd name="connsiteX7" fmla="*/ 9051 w 0"/>
                <a:gd name="connsiteY7" fmla="*/ 557 h 0"/>
                <a:gd name="connsiteX8" fmla="*/ 10470 w 0"/>
                <a:gd name="connsiteY8" fmla="*/ 557 h 0"/>
                <a:gd name="connsiteX9" fmla="*/ 13310 w 0"/>
                <a:gd name="connsiteY9" fmla="*/ 6236 h 0"/>
                <a:gd name="connsiteX10" fmla="*/ 13310 w 0"/>
                <a:gd name="connsiteY10" fmla="*/ 6236 h 0"/>
                <a:gd name="connsiteX11" fmla="*/ 13310 w 0"/>
                <a:gd name="connsiteY11" fmla="*/ 7656 h 0"/>
                <a:gd name="connsiteX12" fmla="*/ 13310 w 0"/>
                <a:gd name="connsiteY12" fmla="*/ 7656 h 0"/>
                <a:gd name="connsiteX13" fmla="*/ 13310 w 0"/>
                <a:gd name="connsiteY13" fmla="*/ 7656 h 0"/>
                <a:gd name="connsiteX14" fmla="*/ 13310 w 0"/>
                <a:gd name="connsiteY14" fmla="*/ 9075 h 0"/>
                <a:gd name="connsiteX15" fmla="*/ 13310 w 0"/>
                <a:gd name="connsiteY15" fmla="*/ 10495 h 0"/>
                <a:gd name="connsiteX16" fmla="*/ 11890 w 0"/>
                <a:gd name="connsiteY16" fmla="*/ 11915 h 0"/>
                <a:gd name="connsiteX17" fmla="*/ 4792 w 0"/>
                <a:gd name="connsiteY17" fmla="*/ 11915 h 0"/>
                <a:gd name="connsiteX18" fmla="*/ 4792 w 0"/>
                <a:gd name="connsiteY18" fmla="*/ 1191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>
                  <a:moveTo>
                    <a:pt x="4792" y="11915"/>
                  </a:moveTo>
                  <a:lnTo>
                    <a:pt x="4792" y="11915"/>
                  </a:lnTo>
                  <a:lnTo>
                    <a:pt x="4792" y="11915"/>
                  </a:lnTo>
                  <a:cubicBezTo>
                    <a:pt x="532" y="10495"/>
                    <a:pt x="-887" y="6236"/>
                    <a:pt x="532" y="3396"/>
                  </a:cubicBezTo>
                  <a:cubicBezTo>
                    <a:pt x="1952" y="557"/>
                    <a:pt x="6211" y="-863"/>
                    <a:pt x="9051" y="557"/>
                  </a:cubicBezTo>
                  <a:lnTo>
                    <a:pt x="9051" y="557"/>
                  </a:lnTo>
                  <a:lnTo>
                    <a:pt x="9051" y="557"/>
                  </a:lnTo>
                  <a:lnTo>
                    <a:pt x="9051" y="557"/>
                  </a:lnTo>
                  <a:cubicBezTo>
                    <a:pt x="9051" y="557"/>
                    <a:pt x="9051" y="557"/>
                    <a:pt x="10470" y="557"/>
                  </a:cubicBezTo>
                  <a:cubicBezTo>
                    <a:pt x="13310" y="1977"/>
                    <a:pt x="14729" y="4816"/>
                    <a:pt x="13310" y="6236"/>
                  </a:cubicBezTo>
                  <a:cubicBezTo>
                    <a:pt x="13310" y="6236"/>
                    <a:pt x="13310" y="6236"/>
                    <a:pt x="13310" y="6236"/>
                  </a:cubicBezTo>
                  <a:cubicBezTo>
                    <a:pt x="13310" y="6236"/>
                    <a:pt x="13310" y="6236"/>
                    <a:pt x="13310" y="7656"/>
                  </a:cubicBezTo>
                  <a:cubicBezTo>
                    <a:pt x="13310" y="7656"/>
                    <a:pt x="13310" y="7656"/>
                    <a:pt x="13310" y="7656"/>
                  </a:cubicBezTo>
                  <a:cubicBezTo>
                    <a:pt x="13310" y="7656"/>
                    <a:pt x="13310" y="7656"/>
                    <a:pt x="13310" y="7656"/>
                  </a:cubicBezTo>
                  <a:cubicBezTo>
                    <a:pt x="13310" y="7656"/>
                    <a:pt x="13310" y="7656"/>
                    <a:pt x="13310" y="9075"/>
                  </a:cubicBezTo>
                  <a:cubicBezTo>
                    <a:pt x="13310" y="9075"/>
                    <a:pt x="13310" y="9075"/>
                    <a:pt x="13310" y="10495"/>
                  </a:cubicBezTo>
                  <a:cubicBezTo>
                    <a:pt x="13310" y="10495"/>
                    <a:pt x="13310" y="10495"/>
                    <a:pt x="11890" y="11915"/>
                  </a:cubicBezTo>
                  <a:cubicBezTo>
                    <a:pt x="10470" y="11915"/>
                    <a:pt x="7631" y="13334"/>
                    <a:pt x="4792" y="11915"/>
                  </a:cubicBezTo>
                  <a:cubicBezTo>
                    <a:pt x="4792" y="11915"/>
                    <a:pt x="4792" y="11915"/>
                    <a:pt x="4792" y="11915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2" name="任意多边形: 形状 171">
              <a:extLst>
                <a:ext uri="{FF2B5EF4-FFF2-40B4-BE49-F238E27FC236}">
                  <a16:creationId xmlns:a16="http://schemas.microsoft.com/office/drawing/2014/main" id="{48444687-F48C-4926-91E9-BAFEB430FD35}"/>
                </a:ext>
              </a:extLst>
            </p:cNvPr>
            <p:cNvSpPr/>
            <p:nvPr userDrawn="1"/>
          </p:nvSpPr>
          <p:spPr>
            <a:xfrm>
              <a:off x="7009895" y="3652483"/>
              <a:ext cx="10266" cy="10266"/>
            </a:xfrm>
            <a:custGeom>
              <a:avLst/>
              <a:gdLst>
                <a:gd name="connsiteX0" fmla="*/ 8896 w 0"/>
                <a:gd name="connsiteY0" fmla="*/ 557 h 0"/>
                <a:gd name="connsiteX1" fmla="*/ 8896 w 0"/>
                <a:gd name="connsiteY1" fmla="*/ 557 h 0"/>
                <a:gd name="connsiteX2" fmla="*/ 13155 w 0"/>
                <a:gd name="connsiteY2" fmla="*/ 9075 h 0"/>
                <a:gd name="connsiteX3" fmla="*/ 4637 w 0"/>
                <a:gd name="connsiteY3" fmla="*/ 11915 h 0"/>
                <a:gd name="connsiteX4" fmla="*/ 4637 w 0"/>
                <a:gd name="connsiteY4" fmla="*/ 11915 h 0"/>
                <a:gd name="connsiteX5" fmla="*/ 378 w 0"/>
                <a:gd name="connsiteY5" fmla="*/ 3396 h 0"/>
                <a:gd name="connsiteX6" fmla="*/ 8896 w 0"/>
                <a:gd name="connsiteY6" fmla="*/ 55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8896" y="557"/>
                  </a:moveTo>
                  <a:lnTo>
                    <a:pt x="8896" y="557"/>
                  </a:lnTo>
                  <a:cubicBezTo>
                    <a:pt x="11735" y="1977"/>
                    <a:pt x="14575" y="6236"/>
                    <a:pt x="13155" y="9075"/>
                  </a:cubicBezTo>
                  <a:cubicBezTo>
                    <a:pt x="11735" y="11915"/>
                    <a:pt x="7476" y="13334"/>
                    <a:pt x="4637" y="11915"/>
                  </a:cubicBezTo>
                  <a:lnTo>
                    <a:pt x="4637" y="11915"/>
                  </a:lnTo>
                  <a:cubicBezTo>
                    <a:pt x="1797" y="10495"/>
                    <a:pt x="-1042" y="6236"/>
                    <a:pt x="378" y="3396"/>
                  </a:cubicBezTo>
                  <a:cubicBezTo>
                    <a:pt x="1797" y="557"/>
                    <a:pt x="6056" y="-863"/>
                    <a:pt x="8896" y="557"/>
                  </a:cubicBezTo>
                  <a:close/>
                </a:path>
              </a:pathLst>
            </a:custGeom>
            <a:solidFill>
              <a:srgbClr val="E6AA54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3" name="任意多边形: 形状 172">
              <a:extLst>
                <a:ext uri="{FF2B5EF4-FFF2-40B4-BE49-F238E27FC236}">
                  <a16:creationId xmlns:a16="http://schemas.microsoft.com/office/drawing/2014/main" id="{0B762926-40E7-4A1C-A92A-66761277A84E}"/>
                </a:ext>
              </a:extLst>
            </p:cNvPr>
            <p:cNvSpPr/>
            <p:nvPr userDrawn="1"/>
          </p:nvSpPr>
          <p:spPr>
            <a:xfrm>
              <a:off x="7666785" y="3903375"/>
              <a:ext cx="10266" cy="10266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0"/>
                    <a:pt x="907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" name="任意多边形: 形状 173">
              <a:extLst>
                <a:ext uri="{FF2B5EF4-FFF2-40B4-BE49-F238E27FC236}">
                  <a16:creationId xmlns:a16="http://schemas.microsoft.com/office/drawing/2014/main" id="{4A5EE541-3A9A-4B0B-AA74-55F02DBD7E34}"/>
                </a:ext>
              </a:extLst>
            </p:cNvPr>
            <p:cNvSpPr/>
            <p:nvPr userDrawn="1"/>
          </p:nvSpPr>
          <p:spPr>
            <a:xfrm>
              <a:off x="7662678" y="3911588"/>
              <a:ext cx="10266" cy="10266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9075" y="1420"/>
                    <a:pt x="10495" y="425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5" name="任意多边形: 形状 174">
              <a:extLst>
                <a:ext uri="{FF2B5EF4-FFF2-40B4-BE49-F238E27FC236}">
                  <a16:creationId xmlns:a16="http://schemas.microsoft.com/office/drawing/2014/main" id="{D131F2F9-02B9-4385-9F54-98065CBB752E}"/>
                </a:ext>
              </a:extLst>
            </p:cNvPr>
            <p:cNvSpPr/>
            <p:nvPr userDrawn="1"/>
          </p:nvSpPr>
          <p:spPr>
            <a:xfrm>
              <a:off x="7659599" y="3920827"/>
              <a:ext cx="10266" cy="10266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0"/>
                    <a:pt x="907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6" name="任意多边形: 形状 175">
              <a:extLst>
                <a:ext uri="{FF2B5EF4-FFF2-40B4-BE49-F238E27FC236}">
                  <a16:creationId xmlns:a16="http://schemas.microsoft.com/office/drawing/2014/main" id="{8B91208D-4A5A-4B96-B3ED-19C8F5C2415C}"/>
                </a:ext>
              </a:extLst>
            </p:cNvPr>
            <p:cNvSpPr/>
            <p:nvPr userDrawn="1"/>
          </p:nvSpPr>
          <p:spPr>
            <a:xfrm>
              <a:off x="7655492" y="3930067"/>
              <a:ext cx="10266" cy="10266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9075" y="0"/>
                    <a:pt x="10495" y="283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7" name="任意多边形: 形状 176">
              <a:extLst>
                <a:ext uri="{FF2B5EF4-FFF2-40B4-BE49-F238E27FC236}">
                  <a16:creationId xmlns:a16="http://schemas.microsoft.com/office/drawing/2014/main" id="{E80BA257-B4F7-4560-A06B-B97872CA6DE6}"/>
                </a:ext>
              </a:extLst>
            </p:cNvPr>
            <p:cNvSpPr/>
            <p:nvPr userDrawn="1"/>
          </p:nvSpPr>
          <p:spPr>
            <a:xfrm>
              <a:off x="7652412" y="3938279"/>
              <a:ext cx="10266" cy="10266"/>
            </a:xfrm>
            <a:custGeom>
              <a:avLst/>
              <a:gdLst>
                <a:gd name="connsiteX0" fmla="*/ 9075 w 0"/>
                <a:gd name="connsiteY0" fmla="*/ 5679 h 0"/>
                <a:gd name="connsiteX1" fmla="*/ 3396 w 0"/>
                <a:gd name="connsiteY1" fmla="*/ 8518 h 0"/>
                <a:gd name="connsiteX2" fmla="*/ 557 w 0"/>
                <a:gd name="connsiteY2" fmla="*/ 2839 h 0"/>
                <a:gd name="connsiteX3" fmla="*/ 6236 w 0"/>
                <a:gd name="connsiteY3" fmla="*/ 0 h 0"/>
                <a:gd name="connsiteX4" fmla="*/ 9075 w 0"/>
                <a:gd name="connsiteY4" fmla="*/ 56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075" y="5679"/>
                  </a:moveTo>
                  <a:cubicBezTo>
                    <a:pt x="7655" y="8518"/>
                    <a:pt x="4816" y="8518"/>
                    <a:pt x="3396" y="8518"/>
                  </a:cubicBezTo>
                  <a:cubicBezTo>
                    <a:pt x="557" y="7099"/>
                    <a:pt x="-863" y="4259"/>
                    <a:pt x="557" y="2839"/>
                  </a:cubicBezTo>
                  <a:cubicBezTo>
                    <a:pt x="1977" y="0"/>
                    <a:pt x="4816" y="0"/>
                    <a:pt x="6236" y="0"/>
                  </a:cubicBezTo>
                  <a:cubicBezTo>
                    <a:pt x="7655" y="1420"/>
                    <a:pt x="9075" y="4259"/>
                    <a:pt x="9075" y="5679"/>
                  </a:cubicBezTo>
                  <a:close/>
                </a:path>
              </a:pathLst>
            </a:custGeom>
            <a:solidFill>
              <a:srgbClr val="FAC47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46E1557F-B7B9-4BAC-9320-96FC4CA4F54B}"/>
                </a:ext>
              </a:extLst>
            </p:cNvPr>
            <p:cNvSpPr/>
            <p:nvPr userDrawn="1"/>
          </p:nvSpPr>
          <p:spPr>
            <a:xfrm>
              <a:off x="7513989" y="3852504"/>
              <a:ext cx="112925" cy="61596"/>
            </a:xfrm>
            <a:custGeom>
              <a:avLst/>
              <a:gdLst>
                <a:gd name="connsiteX0" fmla="*/ 130940 w 156167"/>
                <a:gd name="connsiteY0" fmla="*/ 19241 h 85182"/>
                <a:gd name="connsiteX1" fmla="*/ 106805 w 156167"/>
                <a:gd name="connsiteY1" fmla="*/ 16402 h 85182"/>
                <a:gd name="connsiteX2" fmla="*/ 71313 w 156167"/>
                <a:gd name="connsiteY2" fmla="*/ 785 h 85182"/>
                <a:gd name="connsiteX3" fmla="*/ 34400 w 156167"/>
                <a:gd name="connsiteY3" fmla="*/ 12143 h 85182"/>
                <a:gd name="connsiteX4" fmla="*/ 38659 w 156167"/>
                <a:gd name="connsiteY4" fmla="*/ 22080 h 85182"/>
                <a:gd name="connsiteX5" fmla="*/ 327 w 156167"/>
                <a:gd name="connsiteY5" fmla="*/ 46215 h 85182"/>
                <a:gd name="connsiteX6" fmla="*/ 15944 w 156167"/>
                <a:gd name="connsiteY6" fmla="*/ 84547 h 85182"/>
                <a:gd name="connsiteX7" fmla="*/ 86929 w 156167"/>
                <a:gd name="connsiteY7" fmla="*/ 81708 h 85182"/>
                <a:gd name="connsiteX8" fmla="*/ 163593 w 156167"/>
                <a:gd name="connsiteY8" fmla="*/ 54734 h 85182"/>
                <a:gd name="connsiteX9" fmla="*/ 130940 w 156167"/>
                <a:gd name="connsiteY9" fmla="*/ 19241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167" h="85182">
                  <a:moveTo>
                    <a:pt x="130940" y="19241"/>
                  </a:moveTo>
                  <a:cubicBezTo>
                    <a:pt x="130940" y="19241"/>
                    <a:pt x="116743" y="22080"/>
                    <a:pt x="106805" y="16402"/>
                  </a:cubicBezTo>
                  <a:cubicBezTo>
                    <a:pt x="95448" y="10723"/>
                    <a:pt x="78411" y="-3474"/>
                    <a:pt x="71313" y="785"/>
                  </a:cubicBezTo>
                  <a:cubicBezTo>
                    <a:pt x="62794" y="6464"/>
                    <a:pt x="40079" y="12143"/>
                    <a:pt x="34400" y="12143"/>
                  </a:cubicBezTo>
                  <a:cubicBezTo>
                    <a:pt x="28721" y="12143"/>
                    <a:pt x="32981" y="16402"/>
                    <a:pt x="38659" y="22080"/>
                  </a:cubicBezTo>
                  <a:cubicBezTo>
                    <a:pt x="45758" y="26340"/>
                    <a:pt x="1747" y="33438"/>
                    <a:pt x="327" y="46215"/>
                  </a:cubicBezTo>
                  <a:cubicBezTo>
                    <a:pt x="-1092" y="58993"/>
                    <a:pt x="1747" y="73190"/>
                    <a:pt x="15944" y="84547"/>
                  </a:cubicBezTo>
                  <a:cubicBezTo>
                    <a:pt x="30141" y="94485"/>
                    <a:pt x="75572" y="85967"/>
                    <a:pt x="86929" y="81708"/>
                  </a:cubicBezTo>
                  <a:cubicBezTo>
                    <a:pt x="96867" y="76029"/>
                    <a:pt x="143717" y="53314"/>
                    <a:pt x="163593" y="54734"/>
                  </a:cubicBezTo>
                  <a:cubicBezTo>
                    <a:pt x="182049" y="53314"/>
                    <a:pt x="130940" y="19241"/>
                    <a:pt x="130940" y="19241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A2998DC1-F847-47B3-9521-7D88B2E6932D}"/>
                </a:ext>
              </a:extLst>
            </p:cNvPr>
            <p:cNvSpPr/>
            <p:nvPr userDrawn="1"/>
          </p:nvSpPr>
          <p:spPr>
            <a:xfrm>
              <a:off x="7587113" y="3737067"/>
              <a:ext cx="215584" cy="164255"/>
            </a:xfrm>
            <a:custGeom>
              <a:avLst/>
              <a:gdLst>
                <a:gd name="connsiteX0" fmla="*/ 0 w 298137"/>
                <a:gd name="connsiteY0" fmla="*/ 166105 h 227152"/>
                <a:gd name="connsiteX1" fmla="*/ 183141 w 298137"/>
                <a:gd name="connsiteY1" fmla="*/ 95120 h 227152"/>
                <a:gd name="connsiteX2" fmla="*/ 110737 w 298137"/>
                <a:gd name="connsiteY2" fmla="*/ 0 h 227152"/>
                <a:gd name="connsiteX3" fmla="*/ 242769 w 298137"/>
                <a:gd name="connsiteY3" fmla="*/ 14197 h 227152"/>
                <a:gd name="connsiteX4" fmla="*/ 308075 w 298137"/>
                <a:gd name="connsiteY4" fmla="*/ 134872 h 227152"/>
                <a:gd name="connsiteX5" fmla="*/ 29814 w 298137"/>
                <a:gd name="connsiteY5" fmla="*/ 229992 h 227152"/>
                <a:gd name="connsiteX6" fmla="*/ 0 w 298137"/>
                <a:gd name="connsiteY6" fmla="*/ 166105 h 227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8137" h="227152">
                  <a:moveTo>
                    <a:pt x="0" y="166105"/>
                  </a:moveTo>
                  <a:cubicBezTo>
                    <a:pt x="0" y="166105"/>
                    <a:pt x="181722" y="109317"/>
                    <a:pt x="183141" y="95120"/>
                  </a:cubicBezTo>
                  <a:cubicBezTo>
                    <a:pt x="184561" y="80923"/>
                    <a:pt x="110737" y="0"/>
                    <a:pt x="110737" y="0"/>
                  </a:cubicBezTo>
                  <a:lnTo>
                    <a:pt x="242769" y="14197"/>
                  </a:lnTo>
                  <a:cubicBezTo>
                    <a:pt x="242769" y="14197"/>
                    <a:pt x="308075" y="106478"/>
                    <a:pt x="308075" y="134872"/>
                  </a:cubicBezTo>
                  <a:cubicBezTo>
                    <a:pt x="308075" y="166105"/>
                    <a:pt x="29814" y="229992"/>
                    <a:pt x="29814" y="229992"/>
                  </a:cubicBezTo>
                  <a:lnTo>
                    <a:pt x="0" y="166105"/>
                  </a:ln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0" name="任意多边形: 形状 179">
              <a:extLst>
                <a:ext uri="{FF2B5EF4-FFF2-40B4-BE49-F238E27FC236}">
                  <a16:creationId xmlns:a16="http://schemas.microsoft.com/office/drawing/2014/main" id="{FBFF82C4-B70F-4465-B5F9-C0366D0DD290}"/>
                </a:ext>
              </a:extLst>
            </p:cNvPr>
            <p:cNvSpPr/>
            <p:nvPr userDrawn="1"/>
          </p:nvSpPr>
          <p:spPr>
            <a:xfrm>
              <a:off x="7488561" y="3572812"/>
              <a:ext cx="51330" cy="20532"/>
            </a:xfrm>
            <a:custGeom>
              <a:avLst/>
              <a:gdLst>
                <a:gd name="connsiteX0" fmla="*/ 15617 w 70985"/>
                <a:gd name="connsiteY0" fmla="*/ 41171 h 28394"/>
                <a:gd name="connsiteX1" fmla="*/ 26974 w 70985"/>
                <a:gd name="connsiteY1" fmla="*/ 39752 h 28394"/>
                <a:gd name="connsiteX2" fmla="*/ 70985 w 70985"/>
                <a:gd name="connsiteY2" fmla="*/ 1420 h 28394"/>
                <a:gd name="connsiteX3" fmla="*/ 68146 w 70985"/>
                <a:gd name="connsiteY3" fmla="*/ 0 h 28394"/>
                <a:gd name="connsiteX4" fmla="*/ 25555 w 70985"/>
                <a:gd name="connsiteY4" fmla="*/ 36912 h 28394"/>
                <a:gd name="connsiteX5" fmla="*/ 1420 w 70985"/>
                <a:gd name="connsiteY5" fmla="*/ 35493 h 28394"/>
                <a:gd name="connsiteX6" fmla="*/ 0 w 70985"/>
                <a:gd name="connsiteY6" fmla="*/ 38332 h 28394"/>
                <a:gd name="connsiteX7" fmla="*/ 15617 w 70985"/>
                <a:gd name="connsiteY7" fmla="*/ 41171 h 28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985" h="28394">
                  <a:moveTo>
                    <a:pt x="15617" y="41171"/>
                  </a:moveTo>
                  <a:cubicBezTo>
                    <a:pt x="18456" y="41171"/>
                    <a:pt x="22715" y="41171"/>
                    <a:pt x="26974" y="39752"/>
                  </a:cubicBezTo>
                  <a:cubicBezTo>
                    <a:pt x="39752" y="36912"/>
                    <a:pt x="58208" y="28394"/>
                    <a:pt x="70985" y="1420"/>
                  </a:cubicBezTo>
                  <a:lnTo>
                    <a:pt x="68146" y="0"/>
                  </a:lnTo>
                  <a:cubicBezTo>
                    <a:pt x="58208" y="21296"/>
                    <a:pt x="44011" y="34073"/>
                    <a:pt x="25555" y="36912"/>
                  </a:cubicBezTo>
                  <a:cubicBezTo>
                    <a:pt x="12777" y="39752"/>
                    <a:pt x="1420" y="35493"/>
                    <a:pt x="1420" y="35493"/>
                  </a:cubicBezTo>
                  <a:lnTo>
                    <a:pt x="0" y="38332"/>
                  </a:lnTo>
                  <a:cubicBezTo>
                    <a:pt x="1420" y="39752"/>
                    <a:pt x="7099" y="41171"/>
                    <a:pt x="15617" y="41171"/>
                  </a:cubicBezTo>
                  <a:close/>
                </a:path>
              </a:pathLst>
            </a:custGeom>
            <a:solidFill>
              <a:srgbClr val="A7786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1" name="任意多边形: 形状 180">
              <a:extLst>
                <a:ext uri="{FF2B5EF4-FFF2-40B4-BE49-F238E27FC236}">
                  <a16:creationId xmlns:a16="http://schemas.microsoft.com/office/drawing/2014/main" id="{077D79E0-7949-4E1B-BBDA-08E65C56C45B}"/>
                </a:ext>
              </a:extLst>
            </p:cNvPr>
            <p:cNvSpPr/>
            <p:nvPr userDrawn="1"/>
          </p:nvSpPr>
          <p:spPr>
            <a:xfrm>
              <a:off x="7144411" y="3726624"/>
              <a:ext cx="225850" cy="102659"/>
            </a:xfrm>
            <a:custGeom>
              <a:avLst/>
              <a:gdLst>
                <a:gd name="connsiteX0" fmla="*/ 325445 w 312334"/>
                <a:gd name="connsiteY0" fmla="*/ 152153 h 141970"/>
                <a:gd name="connsiteX1" fmla="*/ 177796 w 312334"/>
                <a:gd name="connsiteY1" fmla="*/ 113821 h 141970"/>
                <a:gd name="connsiteX2" fmla="*/ 30147 w 312334"/>
                <a:gd name="connsiteY2" fmla="*/ 65551 h 141970"/>
                <a:gd name="connsiteX3" fmla="*/ 3172 w 312334"/>
                <a:gd name="connsiteY3" fmla="*/ 1664 h 141970"/>
                <a:gd name="connsiteX4" fmla="*/ 84095 w 312334"/>
                <a:gd name="connsiteY4" fmla="*/ 25799 h 141970"/>
                <a:gd name="connsiteX5" fmla="*/ 106811 w 312334"/>
                <a:gd name="connsiteY5" fmla="*/ 59872 h 141970"/>
                <a:gd name="connsiteX6" fmla="*/ 325445 w 312334"/>
                <a:gd name="connsiteY6" fmla="*/ 152153 h 14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334" h="141970">
                  <a:moveTo>
                    <a:pt x="325445" y="152153"/>
                  </a:moveTo>
                  <a:cubicBezTo>
                    <a:pt x="325445" y="152153"/>
                    <a:pt x="245942" y="139375"/>
                    <a:pt x="177796" y="113821"/>
                  </a:cubicBezTo>
                  <a:cubicBezTo>
                    <a:pt x="109650" y="88266"/>
                    <a:pt x="57121" y="84007"/>
                    <a:pt x="30147" y="65551"/>
                  </a:cubicBezTo>
                  <a:cubicBezTo>
                    <a:pt x="3172" y="47095"/>
                    <a:pt x="-5346" y="8763"/>
                    <a:pt x="3172" y="1664"/>
                  </a:cubicBezTo>
                  <a:cubicBezTo>
                    <a:pt x="13110" y="-5434"/>
                    <a:pt x="72738" y="11602"/>
                    <a:pt x="84095" y="25799"/>
                  </a:cubicBezTo>
                  <a:cubicBezTo>
                    <a:pt x="96873" y="39996"/>
                    <a:pt x="84095" y="49934"/>
                    <a:pt x="106811" y="59872"/>
                  </a:cubicBezTo>
                  <a:cubicBezTo>
                    <a:pt x="128106" y="68390"/>
                    <a:pt x="325445" y="152153"/>
                    <a:pt x="325445" y="152153"/>
                  </a:cubicBezTo>
                  <a:close/>
                </a:path>
              </a:pathLst>
            </a:custGeom>
            <a:solidFill>
              <a:srgbClr val="EEA886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2" name="任意多边形: 形状 181">
              <a:extLst>
                <a:ext uri="{FF2B5EF4-FFF2-40B4-BE49-F238E27FC236}">
                  <a16:creationId xmlns:a16="http://schemas.microsoft.com/office/drawing/2014/main" id="{7B67EF9E-6F0D-46E9-A8B1-467E5EDDBC6C}"/>
                </a:ext>
              </a:extLst>
            </p:cNvPr>
            <p:cNvSpPr/>
            <p:nvPr userDrawn="1"/>
          </p:nvSpPr>
          <p:spPr>
            <a:xfrm>
              <a:off x="7221646" y="3771971"/>
              <a:ext cx="153989" cy="61596"/>
            </a:xfrm>
            <a:custGeom>
              <a:avLst/>
              <a:gdLst>
                <a:gd name="connsiteX0" fmla="*/ 8518 w 212955"/>
                <a:gd name="connsiteY0" fmla="*/ 0 h 85182"/>
                <a:gd name="connsiteX1" fmla="*/ 0 w 212955"/>
                <a:gd name="connsiteY1" fmla="*/ 46850 h 85182"/>
                <a:gd name="connsiteX2" fmla="*/ 218634 w 212955"/>
                <a:gd name="connsiteY2" fmla="*/ 89441 h 85182"/>
                <a:gd name="connsiteX3" fmla="*/ 8518 w 212955"/>
                <a:gd name="connsiteY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55" h="85182">
                  <a:moveTo>
                    <a:pt x="8518" y="0"/>
                  </a:moveTo>
                  <a:cubicBezTo>
                    <a:pt x="8518" y="0"/>
                    <a:pt x="7099" y="31233"/>
                    <a:pt x="0" y="46850"/>
                  </a:cubicBezTo>
                  <a:cubicBezTo>
                    <a:pt x="0" y="46850"/>
                    <a:pt x="198758" y="89441"/>
                    <a:pt x="218634" y="89441"/>
                  </a:cubicBezTo>
                  <a:lnTo>
                    <a:pt x="8518" y="0"/>
                  </a:lnTo>
                  <a:close/>
                </a:path>
              </a:pathLst>
            </a:custGeom>
            <a:solidFill>
              <a:srgbClr val="285173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3" name="任意多边形: 形状 182">
              <a:extLst>
                <a:ext uri="{FF2B5EF4-FFF2-40B4-BE49-F238E27FC236}">
                  <a16:creationId xmlns:a16="http://schemas.microsoft.com/office/drawing/2014/main" id="{35B26521-EFCA-42C7-89DA-606E9E0EFA4D}"/>
                </a:ext>
              </a:extLst>
            </p:cNvPr>
            <p:cNvSpPr/>
            <p:nvPr userDrawn="1"/>
          </p:nvSpPr>
          <p:spPr>
            <a:xfrm>
              <a:off x="7371529" y="4045045"/>
              <a:ext cx="153989" cy="61596"/>
            </a:xfrm>
            <a:custGeom>
              <a:avLst/>
              <a:gdLst>
                <a:gd name="connsiteX0" fmla="*/ 0 w 212955"/>
                <a:gd name="connsiteY0" fmla="*/ 0 h 85182"/>
                <a:gd name="connsiteX1" fmla="*/ 150488 w 212955"/>
                <a:gd name="connsiteY1" fmla="*/ 93700 h 85182"/>
                <a:gd name="connsiteX2" fmla="*/ 215795 w 212955"/>
                <a:gd name="connsiteY2" fmla="*/ 93700 h 85182"/>
                <a:gd name="connsiteX3" fmla="*/ 0 w 212955"/>
                <a:gd name="connsiteY3" fmla="*/ 0 h 85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955" h="85182">
                  <a:moveTo>
                    <a:pt x="0" y="0"/>
                  </a:moveTo>
                  <a:cubicBezTo>
                    <a:pt x="2839" y="2839"/>
                    <a:pt x="102219" y="78084"/>
                    <a:pt x="150488" y="93700"/>
                  </a:cubicBezTo>
                  <a:cubicBezTo>
                    <a:pt x="174623" y="93700"/>
                    <a:pt x="195919" y="93700"/>
                    <a:pt x="215795" y="93700"/>
                  </a:cubicBezTo>
                  <a:cubicBezTo>
                    <a:pt x="211536" y="93700"/>
                    <a:pt x="154747" y="80923"/>
                    <a:pt x="0" y="0"/>
                  </a:cubicBezTo>
                  <a:close/>
                </a:path>
              </a:pathLst>
            </a:custGeom>
            <a:solidFill>
              <a:srgbClr val="4D3925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id="{0C5357D8-BFCA-4139-92F8-76B8DFF0F9A1}"/>
              </a:ext>
            </a:extLst>
          </p:cNvPr>
          <p:cNvGrpSpPr/>
          <p:nvPr userDrawn="1"/>
        </p:nvGrpSpPr>
        <p:grpSpPr>
          <a:xfrm flipH="1">
            <a:off x="-1" y="-11250"/>
            <a:ext cx="6899647" cy="4859021"/>
            <a:chOff x="4285646" y="-11250"/>
            <a:chExt cx="7906355" cy="5567987"/>
          </a:xfrm>
        </p:grpSpPr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97A32D6B-A439-4E17-95DB-072EAF9BBB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206848" y="174489"/>
              <a:ext cx="5899150" cy="4169030"/>
            </a:xfrm>
            <a:custGeom>
              <a:avLst/>
              <a:gdLst>
                <a:gd name="connsiteX0" fmla="*/ 4950105 w 5899150"/>
                <a:gd name="connsiteY0" fmla="*/ 2048130 h 4169030"/>
                <a:gd name="connsiteX1" fmla="*/ 4950105 w 5899150"/>
                <a:gd name="connsiteY1" fmla="*/ 3740405 h 4169030"/>
                <a:gd name="connsiteX2" fmla="*/ 4950105 w 5899150"/>
                <a:gd name="connsiteY2" fmla="*/ 2048130 h 4169030"/>
                <a:gd name="connsiteX3" fmla="*/ 2024528 w 5899150"/>
                <a:gd name="connsiteY3" fmla="*/ 1949705 h 4169030"/>
                <a:gd name="connsiteX4" fmla="*/ 2024528 w 5899150"/>
                <a:gd name="connsiteY4" fmla="*/ 3000581 h 4169030"/>
                <a:gd name="connsiteX5" fmla="*/ 2000342 w 5899150"/>
                <a:gd name="connsiteY5" fmla="*/ 3592768 h 4169030"/>
                <a:gd name="connsiteX6" fmla="*/ 1979612 w 5899150"/>
                <a:gd name="connsiteY6" fmla="*/ 3123811 h 4169030"/>
                <a:gd name="connsiteX7" fmla="*/ 2000342 w 5899150"/>
                <a:gd name="connsiteY7" fmla="*/ 2528200 h 4169030"/>
                <a:gd name="connsiteX8" fmla="*/ 2024528 w 5899150"/>
                <a:gd name="connsiteY8" fmla="*/ 1949705 h 4169030"/>
                <a:gd name="connsiteX9" fmla="*/ 157535 w 5899150"/>
                <a:gd name="connsiteY9" fmla="*/ 1541717 h 4169030"/>
                <a:gd name="connsiteX10" fmla="*/ 184429 w 5899150"/>
                <a:gd name="connsiteY10" fmla="*/ 1716447 h 4169030"/>
                <a:gd name="connsiteX11" fmla="*/ 154174 w 5899150"/>
                <a:gd name="connsiteY11" fmla="*/ 2884742 h 4169030"/>
                <a:gd name="connsiteX12" fmla="*/ 154174 w 5899150"/>
                <a:gd name="connsiteY12" fmla="*/ 2353699 h 4169030"/>
                <a:gd name="connsiteX13" fmla="*/ 154174 w 5899150"/>
                <a:gd name="connsiteY13" fmla="*/ 1884325 h 4169030"/>
                <a:gd name="connsiteX14" fmla="*/ 157535 w 5899150"/>
                <a:gd name="connsiteY14" fmla="*/ 1541717 h 4169030"/>
                <a:gd name="connsiteX15" fmla="*/ 99236 w 5899150"/>
                <a:gd name="connsiteY15" fmla="*/ 1144845 h 4169030"/>
                <a:gd name="connsiteX16" fmla="*/ 112924 w 5899150"/>
                <a:gd name="connsiteY16" fmla="*/ 1805849 h 4169030"/>
                <a:gd name="connsiteX17" fmla="*/ 106080 w 5899150"/>
                <a:gd name="connsiteY17" fmla="*/ 3405277 h 4169030"/>
                <a:gd name="connsiteX18" fmla="*/ 153987 w 5899150"/>
                <a:gd name="connsiteY18" fmla="*/ 2984014 h 4169030"/>
                <a:gd name="connsiteX19" fmla="*/ 153987 w 5899150"/>
                <a:gd name="connsiteY19" fmla="*/ 4169030 h 4169030"/>
                <a:gd name="connsiteX20" fmla="*/ 0 w 5899150"/>
                <a:gd name="connsiteY20" fmla="*/ 4169030 h 4169030"/>
                <a:gd name="connsiteX21" fmla="*/ 0 w 5899150"/>
                <a:gd name="connsiteY21" fmla="*/ 1312665 h 4169030"/>
                <a:gd name="connsiteX22" fmla="*/ 5899150 w 5899150"/>
                <a:gd name="connsiteY22" fmla="*/ 914655 h 4169030"/>
                <a:gd name="connsiteX23" fmla="*/ 5899150 w 5899150"/>
                <a:gd name="connsiteY23" fmla="*/ 1041655 h 4169030"/>
                <a:gd name="connsiteX24" fmla="*/ 5899150 w 5899150"/>
                <a:gd name="connsiteY24" fmla="*/ 3846767 h 4169030"/>
                <a:gd name="connsiteX25" fmla="*/ 5867400 w 5899150"/>
                <a:gd name="connsiteY25" fmla="*/ 3846767 h 4169030"/>
                <a:gd name="connsiteX26" fmla="*/ 5867400 w 5899150"/>
                <a:gd name="connsiteY26" fmla="*/ 1048005 h 4169030"/>
                <a:gd name="connsiteX27" fmla="*/ 5651500 w 5899150"/>
                <a:gd name="connsiteY27" fmla="*/ 636843 h 4169030"/>
                <a:gd name="connsiteX28" fmla="*/ 5778189 w 5899150"/>
                <a:gd name="connsiteY28" fmla="*/ 914329 h 4169030"/>
                <a:gd name="connsiteX29" fmla="*/ 5805581 w 5899150"/>
                <a:gd name="connsiteY29" fmla="*/ 1479577 h 4169030"/>
                <a:gd name="connsiteX30" fmla="*/ 5778189 w 5899150"/>
                <a:gd name="connsiteY30" fmla="*/ 1948904 h 4169030"/>
                <a:gd name="connsiteX31" fmla="*/ 5812429 w 5899150"/>
                <a:gd name="connsiteY31" fmla="*/ 2548410 h 4169030"/>
                <a:gd name="connsiteX32" fmla="*/ 5812429 w 5899150"/>
                <a:gd name="connsiteY32" fmla="*/ 3846768 h 4169030"/>
                <a:gd name="connsiteX33" fmla="*/ 5651500 w 5899150"/>
                <a:gd name="connsiteY33" fmla="*/ 3846768 h 4169030"/>
                <a:gd name="connsiteX34" fmla="*/ 5651500 w 5899150"/>
                <a:gd name="connsiteY34" fmla="*/ 636843 h 4169030"/>
                <a:gd name="connsiteX35" fmla="*/ 3798887 w 5899150"/>
                <a:gd name="connsiteY35" fmla="*/ 0 h 4169030"/>
                <a:gd name="connsiteX36" fmla="*/ 3887787 w 5899150"/>
                <a:gd name="connsiteY36" fmla="*/ 0 h 4169030"/>
                <a:gd name="connsiteX37" fmla="*/ 3887787 w 5899150"/>
                <a:gd name="connsiteY37" fmla="*/ 1541995 h 4169030"/>
                <a:gd name="connsiteX38" fmla="*/ 3892017 w 5899150"/>
                <a:gd name="connsiteY38" fmla="*/ 1539449 h 4169030"/>
                <a:gd name="connsiteX39" fmla="*/ 3911699 w 5899150"/>
                <a:gd name="connsiteY39" fmla="*/ 1534298 h 4169030"/>
                <a:gd name="connsiteX40" fmla="*/ 4010860 w 5899150"/>
                <a:gd name="connsiteY40" fmla="*/ 1603357 h 4169030"/>
                <a:gd name="connsiteX41" fmla="*/ 4017962 w 5899150"/>
                <a:gd name="connsiteY41" fmla="*/ 1605637 h 4169030"/>
                <a:gd name="connsiteX42" fmla="*/ 4017962 w 5899150"/>
                <a:gd name="connsiteY42" fmla="*/ 0 h 4169030"/>
                <a:gd name="connsiteX43" fmla="*/ 4179887 w 5899150"/>
                <a:gd name="connsiteY43" fmla="*/ 0 h 4169030"/>
                <a:gd name="connsiteX44" fmla="*/ 4179887 w 5899150"/>
                <a:gd name="connsiteY44" fmla="*/ 1881563 h 4169030"/>
                <a:gd name="connsiteX45" fmla="*/ 4188820 w 5899150"/>
                <a:gd name="connsiteY45" fmla="*/ 1882372 h 4169030"/>
                <a:gd name="connsiteX46" fmla="*/ 4268788 w 5899150"/>
                <a:gd name="connsiteY46" fmla="*/ 1870396 h 4169030"/>
                <a:gd name="connsiteX47" fmla="*/ 4298950 w 5899150"/>
                <a:gd name="connsiteY47" fmla="*/ 1847301 h 4169030"/>
                <a:gd name="connsiteX48" fmla="*/ 4298950 w 5899150"/>
                <a:gd name="connsiteY48" fmla="*/ 0 h 4169030"/>
                <a:gd name="connsiteX49" fmla="*/ 4384675 w 5899150"/>
                <a:gd name="connsiteY49" fmla="*/ 0 h 4169030"/>
                <a:gd name="connsiteX50" fmla="*/ 4384675 w 5899150"/>
                <a:gd name="connsiteY50" fmla="*/ 2129601 h 4169030"/>
                <a:gd name="connsiteX51" fmla="*/ 4386873 w 5899150"/>
                <a:gd name="connsiteY51" fmla="*/ 2131428 h 4169030"/>
                <a:gd name="connsiteX52" fmla="*/ 4437734 w 5899150"/>
                <a:gd name="connsiteY52" fmla="*/ 2184922 h 4169030"/>
                <a:gd name="connsiteX53" fmla="*/ 4487862 w 5899150"/>
                <a:gd name="connsiteY53" fmla="*/ 2256236 h 4169030"/>
                <a:gd name="connsiteX54" fmla="*/ 4487862 w 5899150"/>
                <a:gd name="connsiteY54" fmla="*/ 0 h 4169030"/>
                <a:gd name="connsiteX55" fmla="*/ 4627562 w 5899150"/>
                <a:gd name="connsiteY55" fmla="*/ 0 h 4169030"/>
                <a:gd name="connsiteX56" fmla="*/ 4627562 w 5899150"/>
                <a:gd name="connsiteY56" fmla="*/ 2367529 h 4169030"/>
                <a:gd name="connsiteX57" fmla="*/ 4660412 w 5899150"/>
                <a:gd name="connsiteY57" fmla="*/ 2382977 h 4169030"/>
                <a:gd name="connsiteX58" fmla="*/ 4709990 w 5899150"/>
                <a:gd name="connsiteY58" fmla="*/ 2415299 h 4169030"/>
                <a:gd name="connsiteX59" fmla="*/ 4750700 w 5899150"/>
                <a:gd name="connsiteY59" fmla="*/ 2462736 h 4169030"/>
                <a:gd name="connsiteX60" fmla="*/ 4775200 w 5899150"/>
                <a:gd name="connsiteY60" fmla="*/ 2499388 h 4169030"/>
                <a:gd name="connsiteX61" fmla="*/ 4775200 w 5899150"/>
                <a:gd name="connsiteY61" fmla="*/ 0 h 4169030"/>
                <a:gd name="connsiteX62" fmla="*/ 4902200 w 5899150"/>
                <a:gd name="connsiteY62" fmla="*/ 0 h 4169030"/>
                <a:gd name="connsiteX63" fmla="*/ 4902200 w 5899150"/>
                <a:gd name="connsiteY63" fmla="*/ 3994405 h 4169030"/>
                <a:gd name="connsiteX64" fmla="*/ 4775200 w 5899150"/>
                <a:gd name="connsiteY64" fmla="*/ 3994405 h 4169030"/>
                <a:gd name="connsiteX65" fmla="*/ 4775200 w 5899150"/>
                <a:gd name="connsiteY65" fmla="*/ 2685763 h 4169030"/>
                <a:gd name="connsiteX66" fmla="*/ 4774956 w 5899150"/>
                <a:gd name="connsiteY66" fmla="*/ 2686305 h 4169030"/>
                <a:gd name="connsiteX67" fmla="*/ 4658462 w 5899150"/>
                <a:gd name="connsiteY67" fmla="*/ 2441061 h 4169030"/>
                <a:gd name="connsiteX68" fmla="*/ 4627562 w 5899150"/>
                <a:gd name="connsiteY68" fmla="*/ 2418260 h 4169030"/>
                <a:gd name="connsiteX69" fmla="*/ 4627562 w 5899150"/>
                <a:gd name="connsiteY69" fmla="*/ 4107118 h 4169030"/>
                <a:gd name="connsiteX70" fmla="*/ 4487862 w 5899150"/>
                <a:gd name="connsiteY70" fmla="*/ 4107118 h 4169030"/>
                <a:gd name="connsiteX71" fmla="*/ 4487862 w 5899150"/>
                <a:gd name="connsiteY71" fmla="*/ 2285838 h 4169030"/>
                <a:gd name="connsiteX72" fmla="*/ 4452266 w 5899150"/>
                <a:gd name="connsiteY72" fmla="*/ 2240774 h 4169030"/>
                <a:gd name="connsiteX73" fmla="*/ 4389705 w 5899150"/>
                <a:gd name="connsiteY73" fmla="*/ 2156138 h 4169030"/>
                <a:gd name="connsiteX74" fmla="*/ 4384675 w 5899150"/>
                <a:gd name="connsiteY74" fmla="*/ 2150695 h 4169030"/>
                <a:gd name="connsiteX75" fmla="*/ 4384675 w 5899150"/>
                <a:gd name="connsiteY75" fmla="*/ 3846768 h 4169030"/>
                <a:gd name="connsiteX76" fmla="*/ 4298950 w 5899150"/>
                <a:gd name="connsiteY76" fmla="*/ 3846768 h 4169030"/>
                <a:gd name="connsiteX77" fmla="*/ 4298950 w 5899150"/>
                <a:gd name="connsiteY77" fmla="*/ 1858615 h 4169030"/>
                <a:gd name="connsiteX78" fmla="*/ 4280403 w 5899150"/>
                <a:gd name="connsiteY78" fmla="*/ 1873164 h 4169030"/>
                <a:gd name="connsiteX79" fmla="*/ 4265362 w 5899150"/>
                <a:gd name="connsiteY79" fmla="*/ 1887429 h 4169030"/>
                <a:gd name="connsiteX80" fmla="*/ 4195992 w 5899150"/>
                <a:gd name="connsiteY80" fmla="*/ 1895094 h 4169030"/>
                <a:gd name="connsiteX81" fmla="*/ 4179887 w 5899150"/>
                <a:gd name="connsiteY81" fmla="*/ 1901618 h 4169030"/>
                <a:gd name="connsiteX82" fmla="*/ 4179887 w 5899150"/>
                <a:gd name="connsiteY82" fmla="*/ 4024568 h 4169030"/>
                <a:gd name="connsiteX83" fmla="*/ 4017962 w 5899150"/>
                <a:gd name="connsiteY83" fmla="*/ 4024568 h 4169030"/>
                <a:gd name="connsiteX84" fmla="*/ 4017962 w 5899150"/>
                <a:gd name="connsiteY84" fmla="*/ 1619253 h 4169030"/>
                <a:gd name="connsiteX85" fmla="*/ 4009630 w 5899150"/>
                <a:gd name="connsiteY85" fmla="*/ 1614733 h 4169030"/>
                <a:gd name="connsiteX86" fmla="*/ 3894584 w 5899150"/>
                <a:gd name="connsiteY86" fmla="*/ 1551469 h 4169030"/>
                <a:gd name="connsiteX87" fmla="*/ 3887787 w 5899150"/>
                <a:gd name="connsiteY87" fmla="*/ 1554608 h 4169030"/>
                <a:gd name="connsiteX88" fmla="*/ 3887787 w 5899150"/>
                <a:gd name="connsiteY88" fmla="*/ 4069018 h 4169030"/>
                <a:gd name="connsiteX89" fmla="*/ 3798887 w 5899150"/>
                <a:gd name="connsiteY89" fmla="*/ 4069018 h 4169030"/>
                <a:gd name="connsiteX90" fmla="*/ 3798887 w 5899150"/>
                <a:gd name="connsiteY90" fmla="*/ 2296407 h 4169030"/>
                <a:gd name="connsiteX91" fmla="*/ 3771415 w 5899150"/>
                <a:gd name="connsiteY91" fmla="*/ 2277758 h 4169030"/>
                <a:gd name="connsiteX92" fmla="*/ 3730624 w 5899150"/>
                <a:gd name="connsiteY92" fmla="*/ 2267659 h 4169030"/>
                <a:gd name="connsiteX93" fmla="*/ 3575843 w 5899150"/>
                <a:gd name="connsiteY93" fmla="*/ 2189418 h 4169030"/>
                <a:gd name="connsiteX94" fmla="*/ 3503612 w 5899150"/>
                <a:gd name="connsiteY94" fmla="*/ 2223436 h 4169030"/>
                <a:gd name="connsiteX95" fmla="*/ 3593041 w 5899150"/>
                <a:gd name="connsiteY95" fmla="*/ 2172409 h 4169030"/>
                <a:gd name="connsiteX96" fmla="*/ 3723745 w 5899150"/>
                <a:gd name="connsiteY96" fmla="*/ 2250650 h 4169030"/>
                <a:gd name="connsiteX97" fmla="*/ 3790387 w 5899150"/>
                <a:gd name="connsiteY97" fmla="*/ 2267659 h 4169030"/>
                <a:gd name="connsiteX98" fmla="*/ 3798887 w 5899150"/>
                <a:gd name="connsiteY98" fmla="*/ 2270909 h 4169030"/>
                <a:gd name="connsiteX99" fmla="*/ 2706687 w 5899150"/>
                <a:gd name="connsiteY99" fmla="*/ 0 h 4169030"/>
                <a:gd name="connsiteX100" fmla="*/ 2849562 w 5899150"/>
                <a:gd name="connsiteY100" fmla="*/ 0 h 4169030"/>
                <a:gd name="connsiteX101" fmla="*/ 2849562 w 5899150"/>
                <a:gd name="connsiteY101" fmla="*/ 2624099 h 4169030"/>
                <a:gd name="connsiteX102" fmla="*/ 2865098 w 5899150"/>
                <a:gd name="connsiteY102" fmla="*/ 2623913 h 4169030"/>
                <a:gd name="connsiteX103" fmla="*/ 2946590 w 5899150"/>
                <a:gd name="connsiteY103" fmla="*/ 2610370 h 4169030"/>
                <a:gd name="connsiteX104" fmla="*/ 3008312 w 5899150"/>
                <a:gd name="connsiteY104" fmla="*/ 2565655 h 4169030"/>
                <a:gd name="connsiteX105" fmla="*/ 3008312 w 5899150"/>
                <a:gd name="connsiteY105" fmla="*/ 2572534 h 4169030"/>
                <a:gd name="connsiteX106" fmla="*/ 2943161 w 5899150"/>
                <a:gd name="connsiteY106" fmla="*/ 2627568 h 4169030"/>
                <a:gd name="connsiteX107" fmla="*/ 2870831 w 5899150"/>
                <a:gd name="connsiteY107" fmla="*/ 2636758 h 4169030"/>
                <a:gd name="connsiteX108" fmla="*/ 2849562 w 5899150"/>
                <a:gd name="connsiteY108" fmla="*/ 2643950 h 4169030"/>
                <a:gd name="connsiteX109" fmla="*/ 2849562 w 5899150"/>
                <a:gd name="connsiteY109" fmla="*/ 4024568 h 4169030"/>
                <a:gd name="connsiteX110" fmla="*/ 2706687 w 5899150"/>
                <a:gd name="connsiteY110" fmla="*/ 4024568 h 4169030"/>
                <a:gd name="connsiteX111" fmla="*/ 2363787 w 5899150"/>
                <a:gd name="connsiteY111" fmla="*/ 0 h 4169030"/>
                <a:gd name="connsiteX112" fmla="*/ 2597149 w 5899150"/>
                <a:gd name="connsiteY112" fmla="*/ 0 h 4169030"/>
                <a:gd name="connsiteX113" fmla="*/ 2597149 w 5899150"/>
                <a:gd name="connsiteY113" fmla="*/ 4024568 h 4169030"/>
                <a:gd name="connsiteX114" fmla="*/ 2363787 w 5899150"/>
                <a:gd name="connsiteY114" fmla="*/ 4024568 h 4169030"/>
                <a:gd name="connsiteX115" fmla="*/ 1065212 w 5899150"/>
                <a:gd name="connsiteY115" fmla="*/ 0 h 4169030"/>
                <a:gd name="connsiteX116" fmla="*/ 1103312 w 5899150"/>
                <a:gd name="connsiteY116" fmla="*/ 0 h 4169030"/>
                <a:gd name="connsiteX117" fmla="*/ 1103312 w 5899150"/>
                <a:gd name="connsiteY117" fmla="*/ 2351515 h 4169030"/>
                <a:gd name="connsiteX118" fmla="*/ 1129517 w 5899150"/>
                <a:gd name="connsiteY118" fmla="*/ 2333902 h 4169030"/>
                <a:gd name="connsiteX119" fmla="*/ 1188596 w 5899150"/>
                <a:gd name="connsiteY119" fmla="*/ 2309000 h 4169030"/>
                <a:gd name="connsiteX120" fmla="*/ 1332441 w 5899150"/>
                <a:gd name="connsiteY120" fmla="*/ 2398304 h 4169030"/>
                <a:gd name="connsiteX121" fmla="*/ 1366155 w 5899150"/>
                <a:gd name="connsiteY121" fmla="*/ 2402759 h 4169030"/>
                <a:gd name="connsiteX122" fmla="*/ 1373187 w 5899150"/>
                <a:gd name="connsiteY122" fmla="*/ 2405026 h 4169030"/>
                <a:gd name="connsiteX123" fmla="*/ 1373187 w 5899150"/>
                <a:gd name="connsiteY123" fmla="*/ 1625601 h 4169030"/>
                <a:gd name="connsiteX124" fmla="*/ 1340907 w 5899150"/>
                <a:gd name="connsiteY124" fmla="*/ 1641100 h 4169030"/>
                <a:gd name="connsiteX125" fmla="*/ 1270000 w 5899150"/>
                <a:gd name="connsiteY125" fmla="*/ 1675677 h 4169030"/>
                <a:gd name="connsiteX126" fmla="*/ 1338602 w 5899150"/>
                <a:gd name="connsiteY126" fmla="*/ 1627441 h 4169030"/>
                <a:gd name="connsiteX127" fmla="*/ 1373187 w 5899150"/>
                <a:gd name="connsiteY127" fmla="*/ 1607193 h 4169030"/>
                <a:gd name="connsiteX128" fmla="*/ 1373187 w 5899150"/>
                <a:gd name="connsiteY128" fmla="*/ 0 h 4169030"/>
                <a:gd name="connsiteX129" fmla="*/ 1514474 w 5899150"/>
                <a:gd name="connsiteY129" fmla="*/ 0 h 4169030"/>
                <a:gd name="connsiteX130" fmla="*/ 1514474 w 5899150"/>
                <a:gd name="connsiteY130" fmla="*/ 1648865 h 4169030"/>
                <a:gd name="connsiteX131" fmla="*/ 1531976 w 5899150"/>
                <a:gd name="connsiteY131" fmla="*/ 1662017 h 4169030"/>
                <a:gd name="connsiteX132" fmla="*/ 1654174 w 5899150"/>
                <a:gd name="connsiteY132" fmla="*/ 1726902 h 4169030"/>
                <a:gd name="connsiteX133" fmla="*/ 1770799 w 5899150"/>
                <a:gd name="connsiteY133" fmla="*/ 1754648 h 4169030"/>
                <a:gd name="connsiteX134" fmla="*/ 1801812 w 5899150"/>
                <a:gd name="connsiteY134" fmla="*/ 1766756 h 4169030"/>
                <a:gd name="connsiteX135" fmla="*/ 1801812 w 5899150"/>
                <a:gd name="connsiteY135" fmla="*/ 582868 h 4169030"/>
                <a:gd name="connsiteX136" fmla="*/ 1952350 w 5899150"/>
                <a:gd name="connsiteY136" fmla="*/ 1535089 h 4169030"/>
                <a:gd name="connsiteX137" fmla="*/ 1952350 w 5899150"/>
                <a:gd name="connsiteY137" fmla="*/ 2894914 h 4169030"/>
                <a:gd name="connsiteX138" fmla="*/ 1952350 w 5899150"/>
                <a:gd name="connsiteY138" fmla="*/ 3391576 h 4169030"/>
                <a:gd name="connsiteX139" fmla="*/ 2000249 w 5899150"/>
                <a:gd name="connsiteY139" fmla="*/ 4124580 h 4169030"/>
                <a:gd name="connsiteX140" fmla="*/ 1801812 w 5899150"/>
                <a:gd name="connsiteY140" fmla="*/ 4124580 h 4169030"/>
                <a:gd name="connsiteX141" fmla="*/ 1801812 w 5899150"/>
                <a:gd name="connsiteY141" fmla="*/ 1819703 h 4169030"/>
                <a:gd name="connsiteX142" fmla="*/ 1794810 w 5899150"/>
                <a:gd name="connsiteY142" fmla="*/ 1812275 h 4169030"/>
                <a:gd name="connsiteX143" fmla="*/ 1671326 w 5899150"/>
                <a:gd name="connsiteY143" fmla="*/ 1754221 h 4169030"/>
                <a:gd name="connsiteX144" fmla="*/ 1527689 w 5899150"/>
                <a:gd name="connsiteY144" fmla="*/ 1670127 h 4169030"/>
                <a:gd name="connsiteX145" fmla="*/ 1514474 w 5899150"/>
                <a:gd name="connsiteY145" fmla="*/ 1659196 h 4169030"/>
                <a:gd name="connsiteX146" fmla="*/ 1514474 w 5899150"/>
                <a:gd name="connsiteY146" fmla="*/ 4124580 h 4169030"/>
                <a:gd name="connsiteX147" fmla="*/ 1373187 w 5899150"/>
                <a:gd name="connsiteY147" fmla="*/ 4124580 h 4169030"/>
                <a:gd name="connsiteX148" fmla="*/ 1373187 w 5899150"/>
                <a:gd name="connsiteY148" fmla="*/ 2423717 h 4169030"/>
                <a:gd name="connsiteX149" fmla="*/ 1342716 w 5899150"/>
                <a:gd name="connsiteY149" fmla="*/ 2415478 h 4169030"/>
                <a:gd name="connsiteX150" fmla="*/ 1168047 w 5899150"/>
                <a:gd name="connsiteY150" fmla="*/ 2326174 h 4169030"/>
                <a:gd name="connsiteX151" fmla="*/ 1106399 w 5899150"/>
                <a:gd name="connsiteY151" fmla="*/ 2354081 h 4169030"/>
                <a:gd name="connsiteX152" fmla="*/ 1103312 w 5899150"/>
                <a:gd name="connsiteY152" fmla="*/ 2355565 h 4169030"/>
                <a:gd name="connsiteX153" fmla="*/ 1103312 w 5899150"/>
                <a:gd name="connsiteY153" fmla="*/ 4165855 h 4169030"/>
                <a:gd name="connsiteX154" fmla="*/ 1065212 w 5899150"/>
                <a:gd name="connsiteY154" fmla="*/ 4165855 h 4169030"/>
                <a:gd name="connsiteX155" fmla="*/ 887412 w 5899150"/>
                <a:gd name="connsiteY155" fmla="*/ 0 h 4169030"/>
                <a:gd name="connsiteX156" fmla="*/ 969962 w 5899150"/>
                <a:gd name="connsiteY156" fmla="*/ 0 h 4169030"/>
                <a:gd name="connsiteX157" fmla="*/ 969962 w 5899150"/>
                <a:gd name="connsiteY157" fmla="*/ 4165855 h 4169030"/>
                <a:gd name="connsiteX158" fmla="*/ 887412 w 5899150"/>
                <a:gd name="connsiteY158" fmla="*/ 4165855 h 4169030"/>
                <a:gd name="connsiteX159" fmla="*/ 630237 w 5899150"/>
                <a:gd name="connsiteY159" fmla="*/ 0 h 4169030"/>
                <a:gd name="connsiteX160" fmla="*/ 774699 w 5899150"/>
                <a:gd name="connsiteY160" fmla="*/ 0 h 4169030"/>
                <a:gd name="connsiteX161" fmla="*/ 774699 w 5899150"/>
                <a:gd name="connsiteY161" fmla="*/ 4124580 h 4169030"/>
                <a:gd name="connsiteX162" fmla="*/ 630237 w 5899150"/>
                <a:gd name="connsiteY162" fmla="*/ 4124580 h 4169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</a:cxnLst>
              <a:rect l="l" t="t" r="r" b="b"/>
              <a:pathLst>
                <a:path w="5899150" h="4169030">
                  <a:moveTo>
                    <a:pt x="4950105" y="2048130"/>
                  </a:moveTo>
                  <a:cubicBezTo>
                    <a:pt x="5005387" y="2329034"/>
                    <a:pt x="4950105" y="3740405"/>
                    <a:pt x="4950105" y="3740405"/>
                  </a:cubicBezTo>
                  <a:cubicBezTo>
                    <a:pt x="4946650" y="3689020"/>
                    <a:pt x="4950105" y="2048130"/>
                    <a:pt x="4950105" y="2048130"/>
                  </a:cubicBezTo>
                  <a:close/>
                  <a:moveTo>
                    <a:pt x="2024528" y="1949705"/>
                  </a:moveTo>
                  <a:cubicBezTo>
                    <a:pt x="2024528" y="1949705"/>
                    <a:pt x="2038349" y="2938966"/>
                    <a:pt x="2024528" y="3000581"/>
                  </a:cubicBezTo>
                  <a:cubicBezTo>
                    <a:pt x="2014163" y="3062196"/>
                    <a:pt x="2000342" y="3592768"/>
                    <a:pt x="2000342" y="3592768"/>
                  </a:cubicBezTo>
                  <a:cubicBezTo>
                    <a:pt x="2000342" y="3592768"/>
                    <a:pt x="1979612" y="3205964"/>
                    <a:pt x="1979612" y="3123811"/>
                  </a:cubicBezTo>
                  <a:cubicBezTo>
                    <a:pt x="1979612" y="3041657"/>
                    <a:pt x="1996887" y="2627469"/>
                    <a:pt x="2000342" y="2528200"/>
                  </a:cubicBezTo>
                  <a:cubicBezTo>
                    <a:pt x="2007253" y="2428932"/>
                    <a:pt x="2024528" y="1949705"/>
                    <a:pt x="2024528" y="1949705"/>
                  </a:cubicBezTo>
                  <a:close/>
                  <a:moveTo>
                    <a:pt x="157535" y="1541717"/>
                  </a:moveTo>
                  <a:cubicBezTo>
                    <a:pt x="157535" y="1541717"/>
                    <a:pt x="207962" y="1630795"/>
                    <a:pt x="184429" y="1716447"/>
                  </a:cubicBezTo>
                  <a:cubicBezTo>
                    <a:pt x="157535" y="1802099"/>
                    <a:pt x="184429" y="2521577"/>
                    <a:pt x="154174" y="2884742"/>
                  </a:cubicBezTo>
                  <a:cubicBezTo>
                    <a:pt x="154174" y="2884742"/>
                    <a:pt x="157535" y="2425647"/>
                    <a:pt x="154174" y="2353699"/>
                  </a:cubicBezTo>
                  <a:cubicBezTo>
                    <a:pt x="150812" y="2281751"/>
                    <a:pt x="150812" y="1966552"/>
                    <a:pt x="154174" y="1884325"/>
                  </a:cubicBezTo>
                  <a:cubicBezTo>
                    <a:pt x="157535" y="1802099"/>
                    <a:pt x="157535" y="1541717"/>
                    <a:pt x="157535" y="1541717"/>
                  </a:cubicBezTo>
                  <a:close/>
                  <a:moveTo>
                    <a:pt x="99236" y="1144845"/>
                  </a:moveTo>
                  <a:cubicBezTo>
                    <a:pt x="99236" y="1144845"/>
                    <a:pt x="133455" y="1706528"/>
                    <a:pt x="112924" y="1805849"/>
                  </a:cubicBezTo>
                  <a:cubicBezTo>
                    <a:pt x="92392" y="1905170"/>
                    <a:pt x="106080" y="3364178"/>
                    <a:pt x="106080" y="3405277"/>
                  </a:cubicBezTo>
                  <a:cubicBezTo>
                    <a:pt x="106080" y="3446376"/>
                    <a:pt x="153987" y="2984014"/>
                    <a:pt x="153987" y="2984014"/>
                  </a:cubicBezTo>
                  <a:cubicBezTo>
                    <a:pt x="153987" y="2984014"/>
                    <a:pt x="153987" y="2984014"/>
                    <a:pt x="153987" y="4169030"/>
                  </a:cubicBezTo>
                  <a:cubicBezTo>
                    <a:pt x="153987" y="4169030"/>
                    <a:pt x="153987" y="4169030"/>
                    <a:pt x="0" y="4169030"/>
                  </a:cubicBezTo>
                  <a:cubicBezTo>
                    <a:pt x="0" y="4169030"/>
                    <a:pt x="0" y="4169030"/>
                    <a:pt x="0" y="1312665"/>
                  </a:cubicBezTo>
                  <a:close/>
                  <a:moveTo>
                    <a:pt x="5899150" y="914655"/>
                  </a:moveTo>
                  <a:lnTo>
                    <a:pt x="5899150" y="1041655"/>
                  </a:lnTo>
                  <a:lnTo>
                    <a:pt x="5899150" y="3846767"/>
                  </a:lnTo>
                  <a:lnTo>
                    <a:pt x="5867400" y="3846767"/>
                  </a:lnTo>
                  <a:lnTo>
                    <a:pt x="5867400" y="1048005"/>
                  </a:lnTo>
                  <a:close/>
                  <a:moveTo>
                    <a:pt x="5651500" y="636843"/>
                  </a:moveTo>
                  <a:cubicBezTo>
                    <a:pt x="5651500" y="636843"/>
                    <a:pt x="5781613" y="736190"/>
                    <a:pt x="5778189" y="914329"/>
                  </a:cubicBezTo>
                  <a:cubicBezTo>
                    <a:pt x="5774765" y="1092468"/>
                    <a:pt x="5788461" y="1373379"/>
                    <a:pt x="5805581" y="1479577"/>
                  </a:cubicBezTo>
                  <a:cubicBezTo>
                    <a:pt x="5826125" y="1582349"/>
                    <a:pt x="5785037" y="1777617"/>
                    <a:pt x="5778189" y="1948904"/>
                  </a:cubicBezTo>
                  <a:cubicBezTo>
                    <a:pt x="5771341" y="2116765"/>
                    <a:pt x="5798733" y="2370271"/>
                    <a:pt x="5812429" y="2548410"/>
                  </a:cubicBezTo>
                  <a:cubicBezTo>
                    <a:pt x="5826125" y="2726549"/>
                    <a:pt x="5812429" y="3846768"/>
                    <a:pt x="5812429" y="3846768"/>
                  </a:cubicBezTo>
                  <a:lnTo>
                    <a:pt x="5651500" y="3846768"/>
                  </a:lnTo>
                  <a:cubicBezTo>
                    <a:pt x="5651500" y="636843"/>
                    <a:pt x="5651500" y="636843"/>
                    <a:pt x="5651500" y="636843"/>
                  </a:cubicBezTo>
                  <a:close/>
                  <a:moveTo>
                    <a:pt x="3798887" y="0"/>
                  </a:moveTo>
                  <a:lnTo>
                    <a:pt x="3887787" y="0"/>
                  </a:lnTo>
                  <a:lnTo>
                    <a:pt x="3887787" y="1541995"/>
                  </a:lnTo>
                  <a:lnTo>
                    <a:pt x="3892017" y="1539449"/>
                  </a:lnTo>
                  <a:cubicBezTo>
                    <a:pt x="3901002" y="1534942"/>
                    <a:pt x="3908276" y="1532581"/>
                    <a:pt x="3911699" y="1534298"/>
                  </a:cubicBezTo>
                  <a:cubicBezTo>
                    <a:pt x="3924535" y="1539449"/>
                    <a:pt x="3973955" y="1583235"/>
                    <a:pt x="4010860" y="1603357"/>
                  </a:cubicBezTo>
                  <a:lnTo>
                    <a:pt x="4017962" y="1605637"/>
                  </a:lnTo>
                  <a:lnTo>
                    <a:pt x="4017962" y="0"/>
                  </a:lnTo>
                  <a:lnTo>
                    <a:pt x="4179887" y="0"/>
                  </a:lnTo>
                  <a:lnTo>
                    <a:pt x="4179887" y="1881563"/>
                  </a:lnTo>
                  <a:lnTo>
                    <a:pt x="4188820" y="1882372"/>
                  </a:lnTo>
                  <a:cubicBezTo>
                    <a:pt x="4213549" y="1885087"/>
                    <a:pt x="4250803" y="1888281"/>
                    <a:pt x="4268788" y="1870396"/>
                  </a:cubicBezTo>
                  <a:lnTo>
                    <a:pt x="4298950" y="1847301"/>
                  </a:lnTo>
                  <a:lnTo>
                    <a:pt x="4298950" y="0"/>
                  </a:lnTo>
                  <a:lnTo>
                    <a:pt x="4384675" y="0"/>
                  </a:lnTo>
                  <a:lnTo>
                    <a:pt x="4384675" y="2129601"/>
                  </a:lnTo>
                  <a:lnTo>
                    <a:pt x="4386873" y="2131428"/>
                  </a:lnTo>
                  <a:cubicBezTo>
                    <a:pt x="4402260" y="2145579"/>
                    <a:pt x="4419783" y="2163374"/>
                    <a:pt x="4437734" y="2184922"/>
                  </a:cubicBezTo>
                  <a:lnTo>
                    <a:pt x="4487862" y="2256236"/>
                  </a:lnTo>
                  <a:lnTo>
                    <a:pt x="4487862" y="0"/>
                  </a:lnTo>
                  <a:lnTo>
                    <a:pt x="4627562" y="0"/>
                  </a:lnTo>
                  <a:lnTo>
                    <a:pt x="4627562" y="2367529"/>
                  </a:lnTo>
                  <a:lnTo>
                    <a:pt x="4660412" y="2382977"/>
                  </a:lnTo>
                  <a:cubicBezTo>
                    <a:pt x="4679217" y="2392358"/>
                    <a:pt x="4696313" y="2402435"/>
                    <a:pt x="4709990" y="2415299"/>
                  </a:cubicBezTo>
                  <a:cubicBezTo>
                    <a:pt x="4723667" y="2428163"/>
                    <a:pt x="4737558" y="2444887"/>
                    <a:pt x="4750700" y="2462736"/>
                  </a:cubicBezTo>
                  <a:lnTo>
                    <a:pt x="4775200" y="2499388"/>
                  </a:lnTo>
                  <a:lnTo>
                    <a:pt x="4775200" y="0"/>
                  </a:lnTo>
                  <a:lnTo>
                    <a:pt x="4902200" y="0"/>
                  </a:lnTo>
                  <a:lnTo>
                    <a:pt x="4902200" y="3994405"/>
                  </a:lnTo>
                  <a:lnTo>
                    <a:pt x="4775200" y="3994405"/>
                  </a:lnTo>
                  <a:lnTo>
                    <a:pt x="4775200" y="2685763"/>
                  </a:lnTo>
                  <a:lnTo>
                    <a:pt x="4774956" y="2686305"/>
                  </a:lnTo>
                  <a:cubicBezTo>
                    <a:pt x="4774956" y="2686305"/>
                    <a:pt x="4751395" y="2528718"/>
                    <a:pt x="4658462" y="2441061"/>
                  </a:cubicBezTo>
                  <a:lnTo>
                    <a:pt x="4627562" y="2418260"/>
                  </a:lnTo>
                  <a:lnTo>
                    <a:pt x="4627562" y="4107118"/>
                  </a:lnTo>
                  <a:lnTo>
                    <a:pt x="4487862" y="4107118"/>
                  </a:lnTo>
                  <a:lnTo>
                    <a:pt x="4487862" y="2285838"/>
                  </a:lnTo>
                  <a:lnTo>
                    <a:pt x="4452266" y="2240774"/>
                  </a:lnTo>
                  <a:cubicBezTo>
                    <a:pt x="4429827" y="2209686"/>
                    <a:pt x="4409205" y="2179991"/>
                    <a:pt x="4389705" y="2156138"/>
                  </a:cubicBezTo>
                  <a:lnTo>
                    <a:pt x="4384675" y="2150695"/>
                  </a:lnTo>
                  <a:lnTo>
                    <a:pt x="4384675" y="3846768"/>
                  </a:lnTo>
                  <a:lnTo>
                    <a:pt x="4298950" y="3846768"/>
                  </a:lnTo>
                  <a:lnTo>
                    <a:pt x="4298950" y="1858615"/>
                  </a:lnTo>
                  <a:lnTo>
                    <a:pt x="4280403" y="1873164"/>
                  </a:lnTo>
                  <a:cubicBezTo>
                    <a:pt x="4273498" y="1878913"/>
                    <a:pt x="4267931" y="1884022"/>
                    <a:pt x="4265362" y="1887429"/>
                  </a:cubicBezTo>
                  <a:cubicBezTo>
                    <a:pt x="4257654" y="1897648"/>
                    <a:pt x="4222970" y="1890623"/>
                    <a:pt x="4195992" y="1895094"/>
                  </a:cubicBezTo>
                  <a:lnTo>
                    <a:pt x="4179887" y="1901618"/>
                  </a:lnTo>
                  <a:lnTo>
                    <a:pt x="4179887" y="4024568"/>
                  </a:lnTo>
                  <a:lnTo>
                    <a:pt x="4017962" y="4024568"/>
                  </a:lnTo>
                  <a:lnTo>
                    <a:pt x="4017962" y="1619253"/>
                  </a:lnTo>
                  <a:lnTo>
                    <a:pt x="4009630" y="1614733"/>
                  </a:lnTo>
                  <a:cubicBezTo>
                    <a:pt x="3968393" y="1586884"/>
                    <a:pt x="3930525" y="1533439"/>
                    <a:pt x="3894584" y="1551469"/>
                  </a:cubicBezTo>
                  <a:lnTo>
                    <a:pt x="3887787" y="1554608"/>
                  </a:lnTo>
                  <a:lnTo>
                    <a:pt x="3887787" y="4069018"/>
                  </a:lnTo>
                  <a:lnTo>
                    <a:pt x="3798887" y="4069018"/>
                  </a:lnTo>
                  <a:lnTo>
                    <a:pt x="3798887" y="2296407"/>
                  </a:lnTo>
                  <a:lnTo>
                    <a:pt x="3771415" y="2277758"/>
                  </a:lnTo>
                  <a:cubicBezTo>
                    <a:pt x="3759001" y="2271699"/>
                    <a:pt x="3745242" y="2267659"/>
                    <a:pt x="3730624" y="2267659"/>
                  </a:cubicBezTo>
                  <a:cubicBezTo>
                    <a:pt x="3675591" y="2267659"/>
                    <a:pt x="3623997" y="2165605"/>
                    <a:pt x="3575843" y="2189418"/>
                  </a:cubicBezTo>
                  <a:cubicBezTo>
                    <a:pt x="3527689" y="2209828"/>
                    <a:pt x="3503612" y="2223436"/>
                    <a:pt x="3503612" y="2223436"/>
                  </a:cubicBezTo>
                  <a:cubicBezTo>
                    <a:pt x="3503612" y="2223436"/>
                    <a:pt x="3575843" y="2165605"/>
                    <a:pt x="3593041" y="2172409"/>
                  </a:cubicBezTo>
                  <a:cubicBezTo>
                    <a:pt x="3610239" y="2179212"/>
                    <a:pt x="3692789" y="2254052"/>
                    <a:pt x="3723745" y="2250650"/>
                  </a:cubicBezTo>
                  <a:cubicBezTo>
                    <a:pt x="3739223" y="2250650"/>
                    <a:pt x="3766740" y="2259155"/>
                    <a:pt x="3790387" y="2267659"/>
                  </a:cubicBezTo>
                  <a:lnTo>
                    <a:pt x="3798887" y="2270909"/>
                  </a:lnTo>
                  <a:close/>
                  <a:moveTo>
                    <a:pt x="2706687" y="0"/>
                  </a:moveTo>
                  <a:lnTo>
                    <a:pt x="2849562" y="0"/>
                  </a:lnTo>
                  <a:lnTo>
                    <a:pt x="2849562" y="2624099"/>
                  </a:lnTo>
                  <a:lnTo>
                    <a:pt x="2865098" y="2623913"/>
                  </a:lnTo>
                  <a:cubicBezTo>
                    <a:pt x="2889369" y="2625203"/>
                    <a:pt x="2928588" y="2628428"/>
                    <a:pt x="2946590" y="2610370"/>
                  </a:cubicBezTo>
                  <a:cubicBezTo>
                    <a:pt x="2970593" y="2589732"/>
                    <a:pt x="3008312" y="2565655"/>
                    <a:pt x="3008312" y="2565655"/>
                  </a:cubicBezTo>
                  <a:cubicBezTo>
                    <a:pt x="3008312" y="2572534"/>
                    <a:pt x="3008312" y="2572534"/>
                    <a:pt x="3008312" y="2572534"/>
                  </a:cubicBezTo>
                  <a:cubicBezTo>
                    <a:pt x="3008312" y="2572534"/>
                    <a:pt x="2953448" y="2613809"/>
                    <a:pt x="2943161" y="2627568"/>
                  </a:cubicBezTo>
                  <a:cubicBezTo>
                    <a:pt x="2935446" y="2637886"/>
                    <a:pt x="2898798" y="2632727"/>
                    <a:pt x="2870831" y="2636758"/>
                  </a:cubicBezTo>
                  <a:lnTo>
                    <a:pt x="2849562" y="2643950"/>
                  </a:lnTo>
                  <a:lnTo>
                    <a:pt x="2849562" y="4024568"/>
                  </a:lnTo>
                  <a:lnTo>
                    <a:pt x="2706687" y="4024568"/>
                  </a:lnTo>
                  <a:close/>
                  <a:moveTo>
                    <a:pt x="2363787" y="0"/>
                  </a:moveTo>
                  <a:lnTo>
                    <a:pt x="2597149" y="0"/>
                  </a:lnTo>
                  <a:lnTo>
                    <a:pt x="2597149" y="4024568"/>
                  </a:lnTo>
                  <a:lnTo>
                    <a:pt x="2363787" y="4024568"/>
                  </a:lnTo>
                  <a:close/>
                  <a:moveTo>
                    <a:pt x="1065212" y="0"/>
                  </a:moveTo>
                  <a:lnTo>
                    <a:pt x="1103312" y="0"/>
                  </a:lnTo>
                  <a:lnTo>
                    <a:pt x="1103312" y="2351515"/>
                  </a:lnTo>
                  <a:lnTo>
                    <a:pt x="1129517" y="2333902"/>
                  </a:lnTo>
                  <a:cubicBezTo>
                    <a:pt x="1152635" y="2319304"/>
                    <a:pt x="1178322" y="2305565"/>
                    <a:pt x="1188596" y="2309000"/>
                  </a:cubicBezTo>
                  <a:cubicBezTo>
                    <a:pt x="1205721" y="2315869"/>
                    <a:pt x="1298192" y="2401739"/>
                    <a:pt x="1332441" y="2398304"/>
                  </a:cubicBezTo>
                  <a:cubicBezTo>
                    <a:pt x="1341003" y="2397445"/>
                    <a:pt x="1352990" y="2399377"/>
                    <a:pt x="1366155" y="2402759"/>
                  </a:cubicBezTo>
                  <a:lnTo>
                    <a:pt x="1373187" y="2405026"/>
                  </a:lnTo>
                  <a:lnTo>
                    <a:pt x="1373187" y="1625601"/>
                  </a:lnTo>
                  <a:lnTo>
                    <a:pt x="1340907" y="1641100"/>
                  </a:lnTo>
                  <a:cubicBezTo>
                    <a:pt x="1293153" y="1664152"/>
                    <a:pt x="1270000" y="1675677"/>
                    <a:pt x="1270000" y="1675677"/>
                  </a:cubicBezTo>
                  <a:cubicBezTo>
                    <a:pt x="1270000" y="1675677"/>
                    <a:pt x="1302586" y="1650918"/>
                    <a:pt x="1338602" y="1627441"/>
                  </a:cubicBezTo>
                  <a:lnTo>
                    <a:pt x="1373187" y="1607193"/>
                  </a:lnTo>
                  <a:lnTo>
                    <a:pt x="1373187" y="0"/>
                  </a:lnTo>
                  <a:lnTo>
                    <a:pt x="1514474" y="0"/>
                  </a:lnTo>
                  <a:lnTo>
                    <a:pt x="1514474" y="1648865"/>
                  </a:lnTo>
                  <a:lnTo>
                    <a:pt x="1531976" y="1662017"/>
                  </a:lnTo>
                  <a:cubicBezTo>
                    <a:pt x="1578711" y="1696167"/>
                    <a:pt x="1628448" y="1728609"/>
                    <a:pt x="1654174" y="1726902"/>
                  </a:cubicBezTo>
                  <a:cubicBezTo>
                    <a:pt x="1681616" y="1725194"/>
                    <a:pt x="1729637" y="1739708"/>
                    <a:pt x="1770799" y="1754648"/>
                  </a:cubicBezTo>
                  <a:lnTo>
                    <a:pt x="1801812" y="1766756"/>
                  </a:lnTo>
                  <a:lnTo>
                    <a:pt x="1801812" y="582868"/>
                  </a:lnTo>
                  <a:cubicBezTo>
                    <a:pt x="1801812" y="582868"/>
                    <a:pt x="1938665" y="969922"/>
                    <a:pt x="1952350" y="1535089"/>
                  </a:cubicBezTo>
                  <a:cubicBezTo>
                    <a:pt x="1966035" y="2100255"/>
                    <a:pt x="1969457" y="2614043"/>
                    <a:pt x="1952350" y="2894914"/>
                  </a:cubicBezTo>
                  <a:cubicBezTo>
                    <a:pt x="1935244" y="3175785"/>
                    <a:pt x="1952350" y="3391576"/>
                    <a:pt x="1952350" y="3391576"/>
                  </a:cubicBezTo>
                  <a:cubicBezTo>
                    <a:pt x="2000249" y="4124580"/>
                    <a:pt x="2000249" y="4124580"/>
                    <a:pt x="2000249" y="4124580"/>
                  </a:cubicBezTo>
                  <a:cubicBezTo>
                    <a:pt x="1801812" y="4124580"/>
                    <a:pt x="1801812" y="4124580"/>
                    <a:pt x="1801812" y="4124580"/>
                  </a:cubicBezTo>
                  <a:lnTo>
                    <a:pt x="1801812" y="1819703"/>
                  </a:lnTo>
                  <a:lnTo>
                    <a:pt x="1794810" y="1812275"/>
                  </a:lnTo>
                  <a:cubicBezTo>
                    <a:pt x="1763081" y="1783249"/>
                    <a:pt x="1719347" y="1754221"/>
                    <a:pt x="1671326" y="1754221"/>
                  </a:cubicBezTo>
                  <a:cubicBezTo>
                    <a:pt x="1621588" y="1754221"/>
                    <a:pt x="1573566" y="1709827"/>
                    <a:pt x="1527689" y="1670127"/>
                  </a:cubicBezTo>
                  <a:lnTo>
                    <a:pt x="1514474" y="1659196"/>
                  </a:lnTo>
                  <a:lnTo>
                    <a:pt x="1514474" y="4124580"/>
                  </a:lnTo>
                  <a:lnTo>
                    <a:pt x="1373187" y="4124580"/>
                  </a:lnTo>
                  <a:lnTo>
                    <a:pt x="1373187" y="2423717"/>
                  </a:lnTo>
                  <a:lnTo>
                    <a:pt x="1342716" y="2415478"/>
                  </a:lnTo>
                  <a:cubicBezTo>
                    <a:pt x="1277643" y="2415478"/>
                    <a:pt x="1219420" y="2302130"/>
                    <a:pt x="1168047" y="2326174"/>
                  </a:cubicBezTo>
                  <a:cubicBezTo>
                    <a:pt x="1140648" y="2338195"/>
                    <a:pt x="1120099" y="2347641"/>
                    <a:pt x="1106399" y="2354081"/>
                  </a:cubicBezTo>
                  <a:lnTo>
                    <a:pt x="1103312" y="2355565"/>
                  </a:lnTo>
                  <a:lnTo>
                    <a:pt x="1103312" y="4165855"/>
                  </a:lnTo>
                  <a:lnTo>
                    <a:pt x="1065212" y="4165855"/>
                  </a:lnTo>
                  <a:close/>
                  <a:moveTo>
                    <a:pt x="887412" y="0"/>
                  </a:moveTo>
                  <a:lnTo>
                    <a:pt x="969962" y="0"/>
                  </a:lnTo>
                  <a:lnTo>
                    <a:pt x="969962" y="4165855"/>
                  </a:lnTo>
                  <a:lnTo>
                    <a:pt x="887412" y="4165855"/>
                  </a:lnTo>
                  <a:close/>
                  <a:moveTo>
                    <a:pt x="630237" y="0"/>
                  </a:moveTo>
                  <a:lnTo>
                    <a:pt x="774699" y="0"/>
                  </a:lnTo>
                  <a:lnTo>
                    <a:pt x="774699" y="4124580"/>
                  </a:lnTo>
                  <a:lnTo>
                    <a:pt x="630237" y="412458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1A991C64-AE99-4298-A7C5-09C828B2B4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30585" y="174489"/>
              <a:ext cx="6558590" cy="4169030"/>
            </a:xfrm>
            <a:custGeom>
              <a:avLst/>
              <a:gdLst>
                <a:gd name="connsiteX0" fmla="*/ 6227763 w 6558590"/>
                <a:gd name="connsiteY0" fmla="*/ 1049761 h 4169030"/>
                <a:gd name="connsiteX1" fmla="*/ 6223594 w 6558590"/>
                <a:gd name="connsiteY1" fmla="*/ 1055033 h 4169030"/>
                <a:gd name="connsiteX2" fmla="*/ 5950451 w 6558590"/>
                <a:gd name="connsiteY2" fmla="*/ 1356784 h 4169030"/>
                <a:gd name="connsiteX3" fmla="*/ 5805396 w 6558590"/>
                <a:gd name="connsiteY3" fmla="*/ 1693902 h 4169030"/>
                <a:gd name="connsiteX4" fmla="*/ 5800725 w 6558590"/>
                <a:gd name="connsiteY4" fmla="*/ 1707222 h 4169030"/>
                <a:gd name="connsiteX5" fmla="*/ 5800725 w 6558590"/>
                <a:gd name="connsiteY5" fmla="*/ 2192694 h 4169030"/>
                <a:gd name="connsiteX6" fmla="*/ 5823025 w 6558590"/>
                <a:gd name="connsiteY6" fmla="*/ 2154828 h 4169030"/>
                <a:gd name="connsiteX7" fmla="*/ 5923598 w 6558590"/>
                <a:gd name="connsiteY7" fmla="*/ 2062303 h 4169030"/>
                <a:gd name="connsiteX8" fmla="*/ 6217885 w 6558590"/>
                <a:gd name="connsiteY8" fmla="*/ 1777873 h 4169030"/>
                <a:gd name="connsiteX9" fmla="*/ 6227763 w 6558590"/>
                <a:gd name="connsiteY9" fmla="*/ 1765285 h 4169030"/>
                <a:gd name="connsiteX10" fmla="*/ 5351463 w 6558590"/>
                <a:gd name="connsiteY10" fmla="*/ 0 h 4169030"/>
                <a:gd name="connsiteX11" fmla="*/ 5800725 w 6558590"/>
                <a:gd name="connsiteY11" fmla="*/ 0 h 4169030"/>
                <a:gd name="connsiteX12" fmla="*/ 5800725 w 6558590"/>
                <a:gd name="connsiteY12" fmla="*/ 1401330 h 4169030"/>
                <a:gd name="connsiteX13" fmla="*/ 5801342 w 6558590"/>
                <a:gd name="connsiteY13" fmla="*/ 1400286 h 4169030"/>
                <a:gd name="connsiteX14" fmla="*/ 5926472 w 6558590"/>
                <a:gd name="connsiteY14" fmla="*/ 1264234 h 4169030"/>
                <a:gd name="connsiteX15" fmla="*/ 6213584 w 6558590"/>
                <a:gd name="connsiteY15" fmla="*/ 936455 h 4169030"/>
                <a:gd name="connsiteX16" fmla="*/ 6227763 w 6558590"/>
                <a:gd name="connsiteY16" fmla="*/ 915195 h 4169030"/>
                <a:gd name="connsiteX17" fmla="*/ 6227763 w 6558590"/>
                <a:gd name="connsiteY17" fmla="*/ 0 h 4169030"/>
                <a:gd name="connsiteX18" fmla="*/ 6558590 w 6558590"/>
                <a:gd name="connsiteY18" fmla="*/ 0 h 4169030"/>
                <a:gd name="connsiteX19" fmla="*/ 6558590 w 6558590"/>
                <a:gd name="connsiteY19" fmla="*/ 3846768 h 4169030"/>
                <a:gd name="connsiteX20" fmla="*/ 6227763 w 6558590"/>
                <a:gd name="connsiteY20" fmla="*/ 3846768 h 4169030"/>
                <a:gd name="connsiteX21" fmla="*/ 6227763 w 6558590"/>
                <a:gd name="connsiteY21" fmla="*/ 1792988 h 4169030"/>
                <a:gd name="connsiteX22" fmla="*/ 6214911 w 6558590"/>
                <a:gd name="connsiteY22" fmla="*/ 1806734 h 4169030"/>
                <a:gd name="connsiteX23" fmla="*/ 5961239 w 6558590"/>
                <a:gd name="connsiteY23" fmla="*/ 2089718 h 4169030"/>
                <a:gd name="connsiteX24" fmla="*/ 5813240 w 6558590"/>
                <a:gd name="connsiteY24" fmla="*/ 2260633 h 4169030"/>
                <a:gd name="connsiteX25" fmla="*/ 5800725 w 6558590"/>
                <a:gd name="connsiteY25" fmla="*/ 2288129 h 4169030"/>
                <a:gd name="connsiteX26" fmla="*/ 5800725 w 6558590"/>
                <a:gd name="connsiteY26" fmla="*/ 3994405 h 4169030"/>
                <a:gd name="connsiteX27" fmla="*/ 5351463 w 6558590"/>
                <a:gd name="connsiteY27" fmla="*/ 3994405 h 4169030"/>
                <a:gd name="connsiteX28" fmla="*/ 2378075 w 6558590"/>
                <a:gd name="connsiteY28" fmla="*/ 0 h 4169030"/>
                <a:gd name="connsiteX29" fmla="*/ 2827337 w 6558590"/>
                <a:gd name="connsiteY29" fmla="*/ 0 h 4169030"/>
                <a:gd name="connsiteX30" fmla="*/ 2827337 w 6558590"/>
                <a:gd name="connsiteY30" fmla="*/ 1552865 h 4169030"/>
                <a:gd name="connsiteX31" fmla="*/ 2859702 w 6558590"/>
                <a:gd name="connsiteY31" fmla="*/ 1538624 h 4169030"/>
                <a:gd name="connsiteX32" fmla="*/ 2977112 w 6558590"/>
                <a:gd name="connsiteY32" fmla="*/ 1503868 h 4169030"/>
                <a:gd name="connsiteX33" fmla="*/ 3559542 w 6558590"/>
                <a:gd name="connsiteY33" fmla="*/ 911827 h 4169030"/>
                <a:gd name="connsiteX34" fmla="*/ 3912427 w 6558590"/>
                <a:gd name="connsiteY34" fmla="*/ 511429 h 4169030"/>
                <a:gd name="connsiteX35" fmla="*/ 3987800 w 6558590"/>
                <a:gd name="connsiteY35" fmla="*/ 531962 h 4169030"/>
                <a:gd name="connsiteX36" fmla="*/ 3682880 w 6558590"/>
                <a:gd name="connsiteY36" fmla="*/ 956315 h 4169030"/>
                <a:gd name="connsiteX37" fmla="*/ 3059337 w 6558590"/>
                <a:gd name="connsiteY37" fmla="*/ 1633911 h 4169030"/>
                <a:gd name="connsiteX38" fmla="*/ 2884394 w 6558590"/>
                <a:gd name="connsiteY38" fmla="*/ 1686956 h 4169030"/>
                <a:gd name="connsiteX39" fmla="*/ 2827337 w 6558590"/>
                <a:gd name="connsiteY39" fmla="*/ 1730610 h 4169030"/>
                <a:gd name="connsiteX40" fmla="*/ 2827337 w 6558590"/>
                <a:gd name="connsiteY40" fmla="*/ 2247465 h 4169030"/>
                <a:gd name="connsiteX41" fmla="*/ 2827893 w 6558590"/>
                <a:gd name="connsiteY41" fmla="*/ 2247099 h 4169030"/>
                <a:gd name="connsiteX42" fmla="*/ 2912764 w 6558590"/>
                <a:gd name="connsiteY42" fmla="*/ 2223122 h 4169030"/>
                <a:gd name="connsiteX43" fmla="*/ 3135377 w 6558590"/>
                <a:gd name="connsiteY43" fmla="*/ 1904574 h 4169030"/>
                <a:gd name="connsiteX44" fmla="*/ 3395662 w 6558590"/>
                <a:gd name="connsiteY44" fmla="*/ 1822368 h 4169030"/>
                <a:gd name="connsiteX45" fmla="*/ 3395662 w 6558590"/>
                <a:gd name="connsiteY45" fmla="*/ 1839495 h 4169030"/>
                <a:gd name="connsiteX46" fmla="*/ 3183324 w 6558590"/>
                <a:gd name="connsiteY46" fmla="*/ 1904574 h 4169030"/>
                <a:gd name="connsiteX47" fmla="*/ 2933313 w 6558590"/>
                <a:gd name="connsiteY47" fmla="*/ 2267650 h 4169030"/>
                <a:gd name="connsiteX48" fmla="*/ 2844803 w 6558590"/>
                <a:gd name="connsiteY48" fmla="*/ 2309824 h 4169030"/>
                <a:gd name="connsiteX49" fmla="*/ 2827337 w 6558590"/>
                <a:gd name="connsiteY49" fmla="*/ 2330942 h 4169030"/>
                <a:gd name="connsiteX50" fmla="*/ 2827337 w 6558590"/>
                <a:gd name="connsiteY50" fmla="*/ 4124580 h 4169030"/>
                <a:gd name="connsiteX51" fmla="*/ 2378075 w 6558590"/>
                <a:gd name="connsiteY51" fmla="*/ 4124580 h 4169030"/>
                <a:gd name="connsiteX52" fmla="*/ 576263 w 6558590"/>
                <a:gd name="connsiteY52" fmla="*/ 0 h 4169030"/>
                <a:gd name="connsiteX53" fmla="*/ 1025525 w 6558590"/>
                <a:gd name="connsiteY53" fmla="*/ 0 h 4169030"/>
                <a:gd name="connsiteX54" fmla="*/ 1025525 w 6558590"/>
                <a:gd name="connsiteY54" fmla="*/ 1963810 h 4169030"/>
                <a:gd name="connsiteX55" fmla="*/ 1033493 w 6558590"/>
                <a:gd name="connsiteY55" fmla="*/ 1956488 h 4169030"/>
                <a:gd name="connsiteX56" fmla="*/ 1080003 w 6558590"/>
                <a:gd name="connsiteY56" fmla="*/ 1925083 h 4169030"/>
                <a:gd name="connsiteX57" fmla="*/ 1292137 w 6558590"/>
                <a:gd name="connsiteY57" fmla="*/ 1904539 h 4169030"/>
                <a:gd name="connsiteX58" fmla="*/ 1425575 w 6558590"/>
                <a:gd name="connsiteY58" fmla="*/ 1805242 h 4169030"/>
                <a:gd name="connsiteX59" fmla="*/ 1425575 w 6558590"/>
                <a:gd name="connsiteY59" fmla="*/ 1822362 h 4169030"/>
                <a:gd name="connsiteX60" fmla="*/ 1285294 w 6558590"/>
                <a:gd name="connsiteY60" fmla="*/ 1938779 h 4169030"/>
                <a:gd name="connsiteX61" fmla="*/ 1083425 w 6558590"/>
                <a:gd name="connsiteY61" fmla="*/ 1973019 h 4169030"/>
                <a:gd name="connsiteX62" fmla="*/ 1033974 w 6558590"/>
                <a:gd name="connsiteY62" fmla="*/ 2018708 h 4169030"/>
                <a:gd name="connsiteX63" fmla="*/ 1025525 w 6558590"/>
                <a:gd name="connsiteY63" fmla="*/ 2027401 h 4169030"/>
                <a:gd name="connsiteX64" fmla="*/ 1025525 w 6558590"/>
                <a:gd name="connsiteY64" fmla="*/ 2721894 h 4169030"/>
                <a:gd name="connsiteX65" fmla="*/ 1025896 w 6558590"/>
                <a:gd name="connsiteY65" fmla="*/ 2721786 h 4169030"/>
                <a:gd name="connsiteX66" fmla="*/ 1230174 w 6558590"/>
                <a:gd name="connsiteY66" fmla="*/ 2699408 h 4169030"/>
                <a:gd name="connsiteX67" fmla="*/ 1514705 w 6558590"/>
                <a:gd name="connsiteY67" fmla="*/ 2630695 h 4169030"/>
                <a:gd name="connsiteX68" fmla="*/ 1662112 w 6558590"/>
                <a:gd name="connsiteY68" fmla="*/ 2695972 h 4169030"/>
                <a:gd name="connsiteX69" fmla="*/ 1504421 w 6558590"/>
                <a:gd name="connsiteY69" fmla="*/ 2647873 h 4169030"/>
                <a:gd name="connsiteX70" fmla="*/ 1192466 w 6558590"/>
                <a:gd name="connsiteY70" fmla="*/ 2733764 h 4169030"/>
                <a:gd name="connsiteX71" fmla="*/ 1058342 w 6558590"/>
                <a:gd name="connsiteY71" fmla="*/ 2753519 h 4169030"/>
                <a:gd name="connsiteX72" fmla="*/ 1025525 w 6558590"/>
                <a:gd name="connsiteY72" fmla="*/ 2775112 h 4169030"/>
                <a:gd name="connsiteX73" fmla="*/ 1025525 w 6558590"/>
                <a:gd name="connsiteY73" fmla="*/ 4169030 h 4169030"/>
                <a:gd name="connsiteX74" fmla="*/ 576263 w 6558590"/>
                <a:gd name="connsiteY74" fmla="*/ 4169030 h 4169030"/>
                <a:gd name="connsiteX75" fmla="*/ 576263 w 6558590"/>
                <a:gd name="connsiteY75" fmla="*/ 2360988 h 4169030"/>
                <a:gd name="connsiteX76" fmla="*/ 554788 w 6558590"/>
                <a:gd name="connsiteY76" fmla="*/ 2331548 h 4169030"/>
                <a:gd name="connsiteX77" fmla="*/ 435010 w 6558590"/>
                <a:gd name="connsiteY77" fmla="*/ 2257484 h 4169030"/>
                <a:gd name="connsiteX78" fmla="*/ 143861 w 6558590"/>
                <a:gd name="connsiteY78" fmla="*/ 2219783 h 4169030"/>
                <a:gd name="connsiteX79" fmla="*/ 0 w 6558590"/>
                <a:gd name="connsiteY79" fmla="*/ 1979867 h 4169030"/>
                <a:gd name="connsiteX80" fmla="*/ 232919 w 6558590"/>
                <a:gd name="connsiteY80" fmla="*/ 2212929 h 4169030"/>
                <a:gd name="connsiteX81" fmla="*/ 558535 w 6558590"/>
                <a:gd name="connsiteY81" fmla="*/ 2285225 h 4169030"/>
                <a:gd name="connsiteX82" fmla="*/ 576263 w 6558590"/>
                <a:gd name="connsiteY82" fmla="*/ 2298756 h 4169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6558590" h="4169030">
                  <a:moveTo>
                    <a:pt x="6227763" y="1049761"/>
                  </a:moveTo>
                  <a:lnTo>
                    <a:pt x="6223594" y="1055033"/>
                  </a:lnTo>
                  <a:cubicBezTo>
                    <a:pt x="6139291" y="1155617"/>
                    <a:pt x="5996698" y="1297655"/>
                    <a:pt x="5950451" y="1356784"/>
                  </a:cubicBezTo>
                  <a:cubicBezTo>
                    <a:pt x="5911912" y="1406057"/>
                    <a:pt x="5847949" y="1574500"/>
                    <a:pt x="5805396" y="1693902"/>
                  </a:cubicBezTo>
                  <a:lnTo>
                    <a:pt x="5800725" y="1707222"/>
                  </a:lnTo>
                  <a:lnTo>
                    <a:pt x="5800725" y="2192694"/>
                  </a:lnTo>
                  <a:lnTo>
                    <a:pt x="5823025" y="2154828"/>
                  </a:lnTo>
                  <a:cubicBezTo>
                    <a:pt x="5852700" y="2109048"/>
                    <a:pt x="5887668" y="2070013"/>
                    <a:pt x="5923598" y="2062303"/>
                  </a:cubicBezTo>
                  <a:cubicBezTo>
                    <a:pt x="6019412" y="2041742"/>
                    <a:pt x="6142602" y="1880679"/>
                    <a:pt x="6217885" y="1777873"/>
                  </a:cubicBezTo>
                  <a:lnTo>
                    <a:pt x="6227763" y="1765285"/>
                  </a:lnTo>
                  <a:close/>
                  <a:moveTo>
                    <a:pt x="5351463" y="0"/>
                  </a:moveTo>
                  <a:lnTo>
                    <a:pt x="5800725" y="0"/>
                  </a:lnTo>
                  <a:lnTo>
                    <a:pt x="5800725" y="1401330"/>
                  </a:lnTo>
                  <a:lnTo>
                    <a:pt x="5801342" y="1400286"/>
                  </a:lnTo>
                  <a:cubicBezTo>
                    <a:pt x="5840884" y="1337824"/>
                    <a:pt x="5885364" y="1282229"/>
                    <a:pt x="5926472" y="1264234"/>
                  </a:cubicBezTo>
                  <a:cubicBezTo>
                    <a:pt x="6008688" y="1228242"/>
                    <a:pt x="6148711" y="1032217"/>
                    <a:pt x="6213584" y="936455"/>
                  </a:cubicBezTo>
                  <a:lnTo>
                    <a:pt x="6227763" y="915195"/>
                  </a:lnTo>
                  <a:lnTo>
                    <a:pt x="6227763" y="0"/>
                  </a:lnTo>
                  <a:lnTo>
                    <a:pt x="6558590" y="0"/>
                  </a:lnTo>
                  <a:lnTo>
                    <a:pt x="6558590" y="3846768"/>
                  </a:lnTo>
                  <a:lnTo>
                    <a:pt x="6227763" y="3846768"/>
                  </a:lnTo>
                  <a:lnTo>
                    <a:pt x="6227763" y="1792988"/>
                  </a:lnTo>
                  <a:lnTo>
                    <a:pt x="6214911" y="1806734"/>
                  </a:lnTo>
                  <a:cubicBezTo>
                    <a:pt x="6131802" y="1905524"/>
                    <a:pt x="6042510" y="2051166"/>
                    <a:pt x="5961239" y="2089718"/>
                  </a:cubicBezTo>
                  <a:cubicBezTo>
                    <a:pt x="5896222" y="2118846"/>
                    <a:pt x="5846604" y="2193381"/>
                    <a:pt x="5813240" y="2260633"/>
                  </a:cubicBezTo>
                  <a:lnTo>
                    <a:pt x="5800725" y="2288129"/>
                  </a:lnTo>
                  <a:lnTo>
                    <a:pt x="5800725" y="3994405"/>
                  </a:lnTo>
                  <a:lnTo>
                    <a:pt x="5351463" y="3994405"/>
                  </a:lnTo>
                  <a:close/>
                  <a:moveTo>
                    <a:pt x="2378075" y="0"/>
                  </a:moveTo>
                  <a:lnTo>
                    <a:pt x="2827337" y="0"/>
                  </a:lnTo>
                  <a:lnTo>
                    <a:pt x="2827337" y="1552865"/>
                  </a:lnTo>
                  <a:lnTo>
                    <a:pt x="2859702" y="1538624"/>
                  </a:lnTo>
                  <a:cubicBezTo>
                    <a:pt x="2894458" y="1525898"/>
                    <a:pt x="2933430" y="1514134"/>
                    <a:pt x="2977112" y="1503868"/>
                  </a:cubicBezTo>
                  <a:cubicBezTo>
                    <a:pt x="3326570" y="1425157"/>
                    <a:pt x="3357404" y="942627"/>
                    <a:pt x="3559542" y="911827"/>
                  </a:cubicBezTo>
                  <a:cubicBezTo>
                    <a:pt x="3761680" y="877605"/>
                    <a:pt x="3912427" y="511429"/>
                    <a:pt x="3912427" y="511429"/>
                  </a:cubicBezTo>
                  <a:cubicBezTo>
                    <a:pt x="3912427" y="511429"/>
                    <a:pt x="3912427" y="511429"/>
                    <a:pt x="3987800" y="531962"/>
                  </a:cubicBezTo>
                  <a:cubicBezTo>
                    <a:pt x="3987800" y="531962"/>
                    <a:pt x="3888444" y="850227"/>
                    <a:pt x="3682880" y="956315"/>
                  </a:cubicBezTo>
                  <a:cubicBezTo>
                    <a:pt x="3477317" y="1062404"/>
                    <a:pt x="3347126" y="1613378"/>
                    <a:pt x="3059337" y="1633911"/>
                  </a:cubicBezTo>
                  <a:cubicBezTo>
                    <a:pt x="2987390" y="1639045"/>
                    <a:pt x="2930003" y="1659364"/>
                    <a:pt x="2884394" y="1686956"/>
                  </a:cubicBezTo>
                  <a:lnTo>
                    <a:pt x="2827337" y="1730610"/>
                  </a:lnTo>
                  <a:lnTo>
                    <a:pt x="2827337" y="2247465"/>
                  </a:lnTo>
                  <a:lnTo>
                    <a:pt x="2827893" y="2247099"/>
                  </a:lnTo>
                  <a:cubicBezTo>
                    <a:pt x="2851974" y="2235539"/>
                    <a:pt x="2880229" y="2226547"/>
                    <a:pt x="2912764" y="2223122"/>
                  </a:cubicBezTo>
                  <a:cubicBezTo>
                    <a:pt x="3042907" y="2209421"/>
                    <a:pt x="3036057" y="2007332"/>
                    <a:pt x="3135377" y="1904574"/>
                  </a:cubicBezTo>
                  <a:cubicBezTo>
                    <a:pt x="3231271" y="1805242"/>
                    <a:pt x="3395662" y="1822368"/>
                    <a:pt x="3395662" y="1822368"/>
                  </a:cubicBezTo>
                  <a:cubicBezTo>
                    <a:pt x="3395662" y="1822368"/>
                    <a:pt x="3395662" y="1822368"/>
                    <a:pt x="3395662" y="1839495"/>
                  </a:cubicBezTo>
                  <a:cubicBezTo>
                    <a:pt x="3395662" y="1839495"/>
                    <a:pt x="3275794" y="1849770"/>
                    <a:pt x="3183324" y="1904574"/>
                  </a:cubicBezTo>
                  <a:cubicBezTo>
                    <a:pt x="3090854" y="1962803"/>
                    <a:pt x="3080580" y="2257375"/>
                    <a:pt x="2933313" y="2267650"/>
                  </a:cubicBezTo>
                  <a:cubicBezTo>
                    <a:pt x="2897353" y="2271076"/>
                    <a:pt x="2868242" y="2287346"/>
                    <a:pt x="2844803" y="2309824"/>
                  </a:cubicBezTo>
                  <a:lnTo>
                    <a:pt x="2827337" y="2330942"/>
                  </a:lnTo>
                  <a:lnTo>
                    <a:pt x="2827337" y="4124580"/>
                  </a:lnTo>
                  <a:lnTo>
                    <a:pt x="2378075" y="4124580"/>
                  </a:lnTo>
                  <a:close/>
                  <a:moveTo>
                    <a:pt x="576263" y="0"/>
                  </a:moveTo>
                  <a:lnTo>
                    <a:pt x="1025525" y="0"/>
                  </a:lnTo>
                  <a:lnTo>
                    <a:pt x="1025525" y="1963810"/>
                  </a:lnTo>
                  <a:lnTo>
                    <a:pt x="1033493" y="1956488"/>
                  </a:lnTo>
                  <a:cubicBezTo>
                    <a:pt x="1054342" y="1938351"/>
                    <a:pt x="1071450" y="1925939"/>
                    <a:pt x="1080003" y="1925083"/>
                  </a:cubicBezTo>
                  <a:cubicBezTo>
                    <a:pt x="1114218" y="1925083"/>
                    <a:pt x="1240814" y="1952475"/>
                    <a:pt x="1292137" y="1904539"/>
                  </a:cubicBezTo>
                  <a:cubicBezTo>
                    <a:pt x="1343459" y="1853178"/>
                    <a:pt x="1425575" y="1805242"/>
                    <a:pt x="1425575" y="1805242"/>
                  </a:cubicBezTo>
                  <a:cubicBezTo>
                    <a:pt x="1425575" y="1822362"/>
                    <a:pt x="1425575" y="1822362"/>
                    <a:pt x="1425575" y="1822362"/>
                  </a:cubicBezTo>
                  <a:cubicBezTo>
                    <a:pt x="1425575" y="1822362"/>
                    <a:pt x="1305823" y="1907963"/>
                    <a:pt x="1285294" y="1938779"/>
                  </a:cubicBezTo>
                  <a:cubicBezTo>
                    <a:pt x="1261343" y="1966171"/>
                    <a:pt x="1134747" y="1935355"/>
                    <a:pt x="1083425" y="1973019"/>
                  </a:cubicBezTo>
                  <a:cubicBezTo>
                    <a:pt x="1070594" y="1983291"/>
                    <a:pt x="1053059" y="1999769"/>
                    <a:pt x="1033974" y="2018708"/>
                  </a:cubicBezTo>
                  <a:lnTo>
                    <a:pt x="1025525" y="2027401"/>
                  </a:lnTo>
                  <a:lnTo>
                    <a:pt x="1025525" y="2721894"/>
                  </a:lnTo>
                  <a:lnTo>
                    <a:pt x="1025896" y="2721786"/>
                  </a:lnTo>
                  <a:cubicBezTo>
                    <a:pt x="1095997" y="2702360"/>
                    <a:pt x="1195894" y="2680082"/>
                    <a:pt x="1230174" y="2699408"/>
                  </a:cubicBezTo>
                  <a:cubicBezTo>
                    <a:pt x="1285024" y="2726893"/>
                    <a:pt x="1483852" y="2589467"/>
                    <a:pt x="1514705" y="2630695"/>
                  </a:cubicBezTo>
                  <a:cubicBezTo>
                    <a:pt x="1528417" y="2647873"/>
                    <a:pt x="1662112" y="2695972"/>
                    <a:pt x="1662112" y="2695972"/>
                  </a:cubicBezTo>
                  <a:cubicBezTo>
                    <a:pt x="1662112" y="2695972"/>
                    <a:pt x="1535273" y="2689101"/>
                    <a:pt x="1504421" y="2647873"/>
                  </a:cubicBezTo>
                  <a:cubicBezTo>
                    <a:pt x="1476996" y="2606645"/>
                    <a:pt x="1247315" y="2795606"/>
                    <a:pt x="1192466" y="2733764"/>
                  </a:cubicBezTo>
                  <a:cubicBezTo>
                    <a:pt x="1166755" y="2702843"/>
                    <a:pt x="1109335" y="2724316"/>
                    <a:pt x="1058342" y="2753519"/>
                  </a:cubicBezTo>
                  <a:lnTo>
                    <a:pt x="1025525" y="2775112"/>
                  </a:lnTo>
                  <a:lnTo>
                    <a:pt x="1025525" y="4169030"/>
                  </a:lnTo>
                  <a:lnTo>
                    <a:pt x="576263" y="4169030"/>
                  </a:lnTo>
                  <a:lnTo>
                    <a:pt x="576263" y="2360988"/>
                  </a:lnTo>
                  <a:lnTo>
                    <a:pt x="554788" y="2331548"/>
                  </a:lnTo>
                  <a:cubicBezTo>
                    <a:pt x="521071" y="2293472"/>
                    <a:pt x="481252" y="2265196"/>
                    <a:pt x="435010" y="2257484"/>
                  </a:cubicBezTo>
                  <a:cubicBezTo>
                    <a:pt x="325401" y="2240348"/>
                    <a:pt x="178114" y="2243775"/>
                    <a:pt x="143861" y="2219783"/>
                  </a:cubicBezTo>
                  <a:cubicBezTo>
                    <a:pt x="113034" y="2195792"/>
                    <a:pt x="0" y="1979867"/>
                    <a:pt x="0" y="1979867"/>
                  </a:cubicBezTo>
                  <a:cubicBezTo>
                    <a:pt x="0" y="1979867"/>
                    <a:pt x="140436" y="2212929"/>
                    <a:pt x="232919" y="2212929"/>
                  </a:cubicBezTo>
                  <a:cubicBezTo>
                    <a:pt x="304850" y="2212929"/>
                    <a:pt x="465410" y="2230280"/>
                    <a:pt x="558535" y="2285225"/>
                  </a:cubicBezTo>
                  <a:lnTo>
                    <a:pt x="576263" y="2298756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5FD7CF74-E85D-40A7-A8CA-8E1395FB8A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60208" y="-11250"/>
              <a:ext cx="6931793" cy="2743892"/>
            </a:xfrm>
            <a:custGeom>
              <a:avLst/>
              <a:gdLst>
                <a:gd name="connsiteX0" fmla="*/ 6266352 w 6931793"/>
                <a:gd name="connsiteY0" fmla="*/ 2627570 h 2743892"/>
                <a:gd name="connsiteX1" fmla="*/ 6389369 w 6931793"/>
                <a:gd name="connsiteY1" fmla="*/ 2682467 h 2743892"/>
                <a:gd name="connsiteX2" fmla="*/ 6467964 w 6931793"/>
                <a:gd name="connsiteY2" fmla="*/ 2696191 h 2743892"/>
                <a:gd name="connsiteX3" fmla="*/ 6266352 w 6931793"/>
                <a:gd name="connsiteY3" fmla="*/ 2627570 h 2743892"/>
                <a:gd name="connsiteX4" fmla="*/ 3477848 w 6931793"/>
                <a:gd name="connsiteY4" fmla="*/ 2538670 h 2743892"/>
                <a:gd name="connsiteX5" fmla="*/ 3378690 w 6931793"/>
                <a:gd name="connsiteY5" fmla="*/ 2727583 h 2743892"/>
                <a:gd name="connsiteX6" fmla="*/ 3450494 w 6931793"/>
                <a:gd name="connsiteY6" fmla="*/ 2614235 h 2743892"/>
                <a:gd name="connsiteX7" fmla="*/ 3477848 w 6931793"/>
                <a:gd name="connsiteY7" fmla="*/ 2538670 h 2743892"/>
                <a:gd name="connsiteX8" fmla="*/ 1541952 w 6931793"/>
                <a:gd name="connsiteY8" fmla="*/ 2460882 h 2743892"/>
                <a:gd name="connsiteX9" fmla="*/ 1661698 w 6931793"/>
                <a:gd name="connsiteY9" fmla="*/ 2515369 h 2743892"/>
                <a:gd name="connsiteX10" fmla="*/ 1740389 w 6931793"/>
                <a:gd name="connsiteY10" fmla="*/ 2528991 h 2743892"/>
                <a:gd name="connsiteX11" fmla="*/ 1541952 w 6931793"/>
                <a:gd name="connsiteY11" fmla="*/ 2460882 h 2743892"/>
                <a:gd name="connsiteX12" fmla="*/ 2606752 w 6931793"/>
                <a:gd name="connsiteY12" fmla="*/ 2326566 h 2743892"/>
                <a:gd name="connsiteX13" fmla="*/ 2673181 w 6931793"/>
                <a:gd name="connsiteY13" fmla="*/ 2464058 h 2743892"/>
                <a:gd name="connsiteX14" fmla="*/ 2635275 w 6931793"/>
                <a:gd name="connsiteY14" fmla="*/ 2374788 h 2743892"/>
                <a:gd name="connsiteX15" fmla="*/ 2600815 w 6931793"/>
                <a:gd name="connsiteY15" fmla="*/ 2326720 h 2743892"/>
                <a:gd name="connsiteX16" fmla="*/ 2606752 w 6931793"/>
                <a:gd name="connsiteY16" fmla="*/ 2326566 h 2743892"/>
                <a:gd name="connsiteX17" fmla="*/ 4824902 w 6931793"/>
                <a:gd name="connsiteY17" fmla="*/ 2014795 h 2743892"/>
                <a:gd name="connsiteX18" fmla="*/ 4618527 w 6931793"/>
                <a:gd name="connsiteY18" fmla="*/ 2176270 h 2743892"/>
                <a:gd name="connsiteX19" fmla="*/ 4756110 w 6931793"/>
                <a:gd name="connsiteY19" fmla="*/ 2086943 h 2743892"/>
                <a:gd name="connsiteX20" fmla="*/ 4824902 w 6931793"/>
                <a:gd name="connsiteY20" fmla="*/ 2014795 h 2743892"/>
                <a:gd name="connsiteX21" fmla="*/ 6304819 w 6931793"/>
                <a:gd name="connsiteY21" fmla="*/ 1908432 h 2743892"/>
                <a:gd name="connsiteX22" fmla="*/ 6233015 w 6931793"/>
                <a:gd name="connsiteY22" fmla="*/ 1960198 h 2743892"/>
                <a:gd name="connsiteX23" fmla="*/ 6280884 w 6931793"/>
                <a:gd name="connsiteY23" fmla="*/ 1932589 h 2743892"/>
                <a:gd name="connsiteX24" fmla="*/ 6304819 w 6931793"/>
                <a:gd name="connsiteY24" fmla="*/ 1908432 h 2743892"/>
                <a:gd name="connsiteX25" fmla="*/ 128197 w 6931793"/>
                <a:gd name="connsiteY25" fmla="*/ 0 h 2743892"/>
                <a:gd name="connsiteX26" fmla="*/ 6931793 w 6931793"/>
                <a:gd name="connsiteY26" fmla="*/ 0 h 2743892"/>
                <a:gd name="connsiteX27" fmla="*/ 6931793 w 6931793"/>
                <a:gd name="connsiteY27" fmla="*/ 1156072 h 2743892"/>
                <a:gd name="connsiteX28" fmla="*/ 6899328 w 6931793"/>
                <a:gd name="connsiteY28" fmla="*/ 1227596 h 2743892"/>
                <a:gd name="connsiteX29" fmla="*/ 6585258 w 6931793"/>
                <a:gd name="connsiteY29" fmla="*/ 1408721 h 2743892"/>
                <a:gd name="connsiteX30" fmla="*/ 6324924 w 6931793"/>
                <a:gd name="connsiteY30" fmla="*/ 1377891 h 2743892"/>
                <a:gd name="connsiteX31" fmla="*/ 6304372 w 6931793"/>
                <a:gd name="connsiteY31" fmla="*/ 1545743 h 2743892"/>
                <a:gd name="connsiteX32" fmla="*/ 5495968 w 6931793"/>
                <a:gd name="connsiteY32" fmla="*/ 1494360 h 2743892"/>
                <a:gd name="connsiteX33" fmla="*/ 4975300 w 6931793"/>
                <a:gd name="connsiteY33" fmla="*/ 1367615 h 2743892"/>
                <a:gd name="connsiteX34" fmla="*/ 4454634 w 6931793"/>
                <a:gd name="connsiteY34" fmla="*/ 1610828 h 2743892"/>
                <a:gd name="connsiteX35" fmla="*/ 4122366 w 6931793"/>
                <a:gd name="connsiteY35" fmla="*/ 1045613 h 2743892"/>
                <a:gd name="connsiteX36" fmla="*/ 3680484 w 6931793"/>
                <a:gd name="connsiteY36" fmla="*/ 1405296 h 2743892"/>
                <a:gd name="connsiteX37" fmla="*/ 2909760 w 6931793"/>
                <a:gd name="connsiteY37" fmla="*/ 1576573 h 2743892"/>
                <a:gd name="connsiteX38" fmla="*/ 2265777 w 6931793"/>
                <a:gd name="connsiteY38" fmla="*/ 1867745 h 2743892"/>
                <a:gd name="connsiteX39" fmla="*/ 1936935 w 6931793"/>
                <a:gd name="connsiteY39" fmla="*/ 1305955 h 2743892"/>
                <a:gd name="connsiteX40" fmla="*/ 1741685 w 6931793"/>
                <a:gd name="connsiteY40" fmla="*/ 1326508 h 2743892"/>
                <a:gd name="connsiteX41" fmla="*/ 1714281 w 6931793"/>
                <a:gd name="connsiteY41" fmla="*/ 1364189 h 2743892"/>
                <a:gd name="connsiteX42" fmla="*/ 1238144 w 6931793"/>
                <a:gd name="connsiteY42" fmla="*/ 1521764 h 2743892"/>
                <a:gd name="connsiteX43" fmla="*/ 946982 w 6931793"/>
                <a:gd name="connsiteY43" fmla="*/ 1552594 h 2743892"/>
                <a:gd name="connsiteX44" fmla="*/ 696925 w 6931793"/>
                <a:gd name="connsiteY44" fmla="*/ 1189486 h 2743892"/>
                <a:gd name="connsiteX45" fmla="*/ 142003 w 6931793"/>
                <a:gd name="connsiteY45" fmla="*/ 1103848 h 2743892"/>
                <a:gd name="connsiteX46" fmla="*/ 118025 w 6931793"/>
                <a:gd name="connsiteY46" fmla="*/ 737314 h 2743892"/>
                <a:gd name="connsiteX47" fmla="*/ 296148 w 6931793"/>
                <a:gd name="connsiteY47" fmla="*/ 360504 h 2743892"/>
                <a:gd name="connsiteX48" fmla="*/ 106237 w 6931793"/>
                <a:gd name="connsiteY48" fmla="*/ 20171 h 2743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931793" h="2743892">
                  <a:moveTo>
                    <a:pt x="6266352" y="2627570"/>
                  </a:moveTo>
                  <a:cubicBezTo>
                    <a:pt x="6266352" y="2627570"/>
                    <a:pt x="6365449" y="2631001"/>
                    <a:pt x="6389369" y="2682467"/>
                  </a:cubicBezTo>
                  <a:cubicBezTo>
                    <a:pt x="6413290" y="2730502"/>
                    <a:pt x="6467964" y="2696191"/>
                    <a:pt x="6467964" y="2696191"/>
                  </a:cubicBezTo>
                  <a:cubicBezTo>
                    <a:pt x="6467964" y="2696191"/>
                    <a:pt x="6338112" y="2840295"/>
                    <a:pt x="6266352" y="2627570"/>
                  </a:cubicBezTo>
                  <a:close/>
                  <a:moveTo>
                    <a:pt x="3477848" y="2538670"/>
                  </a:moveTo>
                  <a:cubicBezTo>
                    <a:pt x="3477848" y="2538670"/>
                    <a:pt x="3600940" y="2689801"/>
                    <a:pt x="3378690" y="2727583"/>
                  </a:cubicBezTo>
                  <a:cubicBezTo>
                    <a:pt x="3378690" y="2727583"/>
                    <a:pt x="3399206" y="2631409"/>
                    <a:pt x="3450494" y="2614235"/>
                  </a:cubicBezTo>
                  <a:cubicBezTo>
                    <a:pt x="3501783" y="2597061"/>
                    <a:pt x="3477848" y="2538670"/>
                    <a:pt x="3477848" y="2538670"/>
                  </a:cubicBezTo>
                  <a:close/>
                  <a:moveTo>
                    <a:pt x="1541952" y="2460882"/>
                  </a:moveTo>
                  <a:cubicBezTo>
                    <a:pt x="1541952" y="2460882"/>
                    <a:pt x="1637749" y="2467693"/>
                    <a:pt x="1661698" y="2515369"/>
                  </a:cubicBezTo>
                  <a:cubicBezTo>
                    <a:pt x="1689069" y="2563046"/>
                    <a:pt x="1740389" y="2528991"/>
                    <a:pt x="1740389" y="2528991"/>
                  </a:cubicBezTo>
                  <a:cubicBezTo>
                    <a:pt x="1740389" y="2528991"/>
                    <a:pt x="1610378" y="2672020"/>
                    <a:pt x="1541952" y="2460882"/>
                  </a:cubicBezTo>
                  <a:close/>
                  <a:moveTo>
                    <a:pt x="2606752" y="2326566"/>
                  </a:moveTo>
                  <a:cubicBezTo>
                    <a:pt x="2632853" y="2326613"/>
                    <a:pt x="2733487" y="2334875"/>
                    <a:pt x="2673181" y="2464058"/>
                  </a:cubicBezTo>
                  <a:cubicBezTo>
                    <a:pt x="2673181" y="2464058"/>
                    <a:pt x="2624937" y="2412556"/>
                    <a:pt x="2635275" y="2374788"/>
                  </a:cubicBezTo>
                  <a:cubicBezTo>
                    <a:pt x="2645613" y="2337021"/>
                    <a:pt x="2600815" y="2326720"/>
                    <a:pt x="2600815" y="2326720"/>
                  </a:cubicBezTo>
                  <a:cubicBezTo>
                    <a:pt x="2600815" y="2326720"/>
                    <a:pt x="2603023" y="2326559"/>
                    <a:pt x="2606752" y="2326566"/>
                  </a:cubicBezTo>
                  <a:close/>
                  <a:moveTo>
                    <a:pt x="4824902" y="2014795"/>
                  </a:moveTo>
                  <a:cubicBezTo>
                    <a:pt x="4824902" y="2014795"/>
                    <a:pt x="4886814" y="2244983"/>
                    <a:pt x="4618527" y="2176270"/>
                  </a:cubicBezTo>
                  <a:cubicBezTo>
                    <a:pt x="4618527" y="2176270"/>
                    <a:pt x="4687319" y="2080072"/>
                    <a:pt x="4756110" y="2086943"/>
                  </a:cubicBezTo>
                  <a:cubicBezTo>
                    <a:pt x="4821462" y="2090379"/>
                    <a:pt x="4824902" y="2014795"/>
                    <a:pt x="4824902" y="2014795"/>
                  </a:cubicBezTo>
                  <a:close/>
                  <a:moveTo>
                    <a:pt x="6304819" y="1908432"/>
                  </a:moveTo>
                  <a:cubicBezTo>
                    <a:pt x="6304819" y="1908432"/>
                    <a:pt x="6321915" y="1987807"/>
                    <a:pt x="6233015" y="1960198"/>
                  </a:cubicBezTo>
                  <a:cubicBezTo>
                    <a:pt x="6233015" y="1960198"/>
                    <a:pt x="6260369" y="1929138"/>
                    <a:pt x="6280884" y="1932589"/>
                  </a:cubicBezTo>
                  <a:cubicBezTo>
                    <a:pt x="6304819" y="1936041"/>
                    <a:pt x="6304819" y="1908432"/>
                    <a:pt x="6304819" y="1908432"/>
                  </a:cubicBezTo>
                  <a:close/>
                  <a:moveTo>
                    <a:pt x="128197" y="0"/>
                  </a:moveTo>
                  <a:lnTo>
                    <a:pt x="6931793" y="0"/>
                  </a:lnTo>
                  <a:lnTo>
                    <a:pt x="6931793" y="1156072"/>
                  </a:lnTo>
                  <a:lnTo>
                    <a:pt x="6899328" y="1227596"/>
                  </a:lnTo>
                  <a:cubicBezTo>
                    <a:pt x="6860149" y="1324582"/>
                    <a:pt x="6811337" y="1421567"/>
                    <a:pt x="6585258" y="1408721"/>
                  </a:cubicBezTo>
                  <a:cubicBezTo>
                    <a:pt x="6506472" y="1405296"/>
                    <a:pt x="6413986" y="1395019"/>
                    <a:pt x="6324924" y="1377891"/>
                  </a:cubicBezTo>
                  <a:cubicBezTo>
                    <a:pt x="6352328" y="1425849"/>
                    <a:pt x="6355753" y="1480658"/>
                    <a:pt x="6304372" y="1545743"/>
                  </a:cubicBezTo>
                  <a:cubicBezTo>
                    <a:pt x="6109121" y="1792383"/>
                    <a:pt x="5585029" y="1744425"/>
                    <a:pt x="5495968" y="1494360"/>
                  </a:cubicBezTo>
                  <a:cubicBezTo>
                    <a:pt x="5430884" y="1305955"/>
                    <a:pt x="5208230" y="1395019"/>
                    <a:pt x="4975300" y="1367615"/>
                  </a:cubicBezTo>
                  <a:cubicBezTo>
                    <a:pt x="4797178" y="1487509"/>
                    <a:pt x="4999278" y="1675914"/>
                    <a:pt x="4454634" y="1610828"/>
                  </a:cubicBezTo>
                  <a:cubicBezTo>
                    <a:pt x="3820927" y="1532041"/>
                    <a:pt x="4478612" y="1066167"/>
                    <a:pt x="4122366" y="1045613"/>
                  </a:cubicBezTo>
                  <a:cubicBezTo>
                    <a:pt x="3800374" y="1028486"/>
                    <a:pt x="3968221" y="1353913"/>
                    <a:pt x="3680484" y="1405296"/>
                  </a:cubicBezTo>
                  <a:cubicBezTo>
                    <a:pt x="3587997" y="1645084"/>
                    <a:pt x="3272857" y="1477232"/>
                    <a:pt x="2909760" y="1576573"/>
                  </a:cubicBezTo>
                  <a:cubicBezTo>
                    <a:pt x="2526110" y="1679339"/>
                    <a:pt x="2899483" y="1946532"/>
                    <a:pt x="2265777" y="1867745"/>
                  </a:cubicBezTo>
                  <a:cubicBezTo>
                    <a:pt x="1635496" y="1792383"/>
                    <a:pt x="2293180" y="1326508"/>
                    <a:pt x="1936935" y="1305955"/>
                  </a:cubicBezTo>
                  <a:cubicBezTo>
                    <a:pt x="1865000" y="1302529"/>
                    <a:pt x="1799917" y="1309380"/>
                    <a:pt x="1741685" y="1326508"/>
                  </a:cubicBezTo>
                  <a:cubicBezTo>
                    <a:pt x="1734834" y="1340210"/>
                    <a:pt x="1724557" y="1350487"/>
                    <a:pt x="1714281" y="1364189"/>
                  </a:cubicBezTo>
                  <a:cubicBezTo>
                    <a:pt x="1611518" y="1497785"/>
                    <a:pt x="1412842" y="1542317"/>
                    <a:pt x="1238144" y="1521764"/>
                  </a:cubicBezTo>
                  <a:cubicBezTo>
                    <a:pt x="1152508" y="1542317"/>
                    <a:pt x="1056596" y="1556020"/>
                    <a:pt x="946982" y="1552594"/>
                  </a:cubicBezTo>
                  <a:cubicBezTo>
                    <a:pt x="563333" y="1528615"/>
                    <a:pt x="494824" y="1309380"/>
                    <a:pt x="696925" y="1189486"/>
                  </a:cubicBezTo>
                  <a:cubicBezTo>
                    <a:pt x="542780" y="1186061"/>
                    <a:pt x="326977" y="1227167"/>
                    <a:pt x="142003" y="1103848"/>
                  </a:cubicBezTo>
                  <a:cubicBezTo>
                    <a:pt x="-162861" y="898315"/>
                    <a:pt x="118025" y="737314"/>
                    <a:pt x="118025" y="737314"/>
                  </a:cubicBezTo>
                  <a:cubicBezTo>
                    <a:pt x="-128606" y="374207"/>
                    <a:pt x="296148" y="360504"/>
                    <a:pt x="296148" y="360504"/>
                  </a:cubicBezTo>
                  <a:cubicBezTo>
                    <a:pt x="90622" y="198647"/>
                    <a:pt x="61881" y="91225"/>
                    <a:pt x="106237" y="2017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34B18E03-FAB9-45AA-BCDE-57D5FF615FEF}"/>
                </a:ext>
              </a:extLst>
            </p:cNvPr>
            <p:cNvSpPr/>
            <p:nvPr userDrawn="1"/>
          </p:nvSpPr>
          <p:spPr>
            <a:xfrm>
              <a:off x="4285646" y="4185945"/>
              <a:ext cx="7906354" cy="1370792"/>
            </a:xfrm>
            <a:custGeom>
              <a:avLst/>
              <a:gdLst>
                <a:gd name="connsiteX0" fmla="*/ 5883467 w 7906354"/>
                <a:gd name="connsiteY0" fmla="*/ 2019 h 1370792"/>
                <a:gd name="connsiteX1" fmla="*/ 7627016 w 7906354"/>
                <a:gd name="connsiteY1" fmla="*/ 44628 h 1370792"/>
                <a:gd name="connsiteX2" fmla="*/ 7906354 w 7906354"/>
                <a:gd name="connsiteY2" fmla="*/ 62273 h 1370792"/>
                <a:gd name="connsiteX3" fmla="*/ 7906354 w 7906354"/>
                <a:gd name="connsiteY3" fmla="*/ 1189343 h 1370792"/>
                <a:gd name="connsiteX4" fmla="*/ 7844504 w 7906354"/>
                <a:gd name="connsiteY4" fmla="*/ 1208648 h 1370792"/>
                <a:gd name="connsiteX5" fmla="*/ 6160692 w 7906354"/>
                <a:gd name="connsiteY5" fmla="*/ 1200861 h 1370792"/>
                <a:gd name="connsiteX6" fmla="*/ 4310820 w 7906354"/>
                <a:gd name="connsiteY6" fmla="*/ 1104321 h 1370792"/>
                <a:gd name="connsiteX7" fmla="*/ 3025990 w 7906354"/>
                <a:gd name="connsiteY7" fmla="*/ 1256230 h 1370792"/>
                <a:gd name="connsiteX8" fmla="*/ 1336544 w 7906354"/>
                <a:gd name="connsiteY8" fmla="*/ 1104321 h 1370792"/>
                <a:gd name="connsiteX9" fmla="*/ 190845 w 7906354"/>
                <a:gd name="connsiteY9" fmla="*/ 712484 h 1370792"/>
                <a:gd name="connsiteX10" fmla="*/ 58812 w 7906354"/>
                <a:gd name="connsiteY10" fmla="*/ 295090 h 1370792"/>
                <a:gd name="connsiteX11" fmla="*/ 1377715 w 7906354"/>
                <a:gd name="connsiteY11" fmla="*/ 62259 h 1370792"/>
                <a:gd name="connsiteX12" fmla="*/ 5883467 w 7906354"/>
                <a:gd name="connsiteY12" fmla="*/ 2019 h 137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06354" h="1370792">
                  <a:moveTo>
                    <a:pt x="5883467" y="2019"/>
                  </a:moveTo>
                  <a:cubicBezTo>
                    <a:pt x="6515304" y="6574"/>
                    <a:pt x="7120725" y="19282"/>
                    <a:pt x="7627016" y="44628"/>
                  </a:cubicBezTo>
                  <a:lnTo>
                    <a:pt x="7906354" y="62273"/>
                  </a:lnTo>
                  <a:lnTo>
                    <a:pt x="7906354" y="1189343"/>
                  </a:lnTo>
                  <a:lnTo>
                    <a:pt x="7844504" y="1208648"/>
                  </a:lnTo>
                  <a:cubicBezTo>
                    <a:pt x="7458123" y="1303080"/>
                    <a:pt x="6500357" y="1274331"/>
                    <a:pt x="6160692" y="1200861"/>
                  </a:cubicBezTo>
                  <a:cubicBezTo>
                    <a:pt x="5707808" y="1102902"/>
                    <a:pt x="4884380" y="1277525"/>
                    <a:pt x="4310820" y="1104321"/>
                  </a:cubicBezTo>
                  <a:cubicBezTo>
                    <a:pt x="3737261" y="931118"/>
                    <a:pt x="3064322" y="1040435"/>
                    <a:pt x="3025990" y="1256230"/>
                  </a:cubicBezTo>
                  <a:cubicBezTo>
                    <a:pt x="2987658" y="1472024"/>
                    <a:pt x="839648" y="1361288"/>
                    <a:pt x="1336544" y="1104321"/>
                  </a:cubicBezTo>
                  <a:cubicBezTo>
                    <a:pt x="1833440" y="848775"/>
                    <a:pt x="643730" y="837417"/>
                    <a:pt x="190845" y="712484"/>
                  </a:cubicBezTo>
                  <a:cubicBezTo>
                    <a:pt x="-262040" y="587550"/>
                    <a:pt x="260410" y="525083"/>
                    <a:pt x="58812" y="295090"/>
                  </a:cubicBezTo>
                  <a:cubicBezTo>
                    <a:pt x="-142785" y="65099"/>
                    <a:pt x="1377715" y="62259"/>
                    <a:pt x="1377715" y="62259"/>
                  </a:cubicBezTo>
                  <a:cubicBezTo>
                    <a:pt x="1377715" y="62259"/>
                    <a:pt x="3777345" y="-13163"/>
                    <a:pt x="5883467" y="2019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C3D105D8-9D33-4C4B-BB5B-94B44025ED05}"/>
                </a:ext>
              </a:extLst>
            </p:cNvPr>
            <p:cNvSpPr/>
            <p:nvPr userDrawn="1"/>
          </p:nvSpPr>
          <p:spPr>
            <a:xfrm>
              <a:off x="5149429" y="3378554"/>
              <a:ext cx="908609" cy="1519081"/>
            </a:xfrm>
            <a:custGeom>
              <a:avLst/>
              <a:gdLst>
                <a:gd name="connsiteX0" fmla="*/ 5679 w 908609"/>
                <a:gd name="connsiteY0" fmla="*/ 1527599 h 1519081"/>
                <a:gd name="connsiteX1" fmla="*/ 912868 w 908609"/>
                <a:gd name="connsiteY1" fmla="*/ 5679 h 1519081"/>
                <a:gd name="connsiteX2" fmla="*/ 910029 w 908609"/>
                <a:gd name="connsiteY2" fmla="*/ 0 h 1519081"/>
                <a:gd name="connsiteX3" fmla="*/ 0 w 908609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8609" h="1519081">
                  <a:moveTo>
                    <a:pt x="5679" y="1527599"/>
                  </a:moveTo>
                  <a:lnTo>
                    <a:pt x="912868" y="5679"/>
                  </a:lnTo>
                  <a:lnTo>
                    <a:pt x="910029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22ACD060-C4F0-4FCD-A885-6AAB0E7CBFEF}"/>
                </a:ext>
              </a:extLst>
            </p:cNvPr>
            <p:cNvSpPr/>
            <p:nvPr userDrawn="1"/>
          </p:nvSpPr>
          <p:spPr>
            <a:xfrm>
              <a:off x="10028314" y="3789710"/>
              <a:ext cx="1178353" cy="809230"/>
            </a:xfrm>
            <a:custGeom>
              <a:avLst/>
              <a:gdLst>
                <a:gd name="connsiteX0" fmla="*/ 114207 w 1178352"/>
                <a:gd name="connsiteY0" fmla="*/ 609610 h 809230"/>
                <a:gd name="connsiteX1" fmla="*/ 114207 w 1178352"/>
                <a:gd name="connsiteY1" fmla="*/ 287338 h 809230"/>
                <a:gd name="connsiteX2" fmla="*/ 398148 w 1178352"/>
                <a:gd name="connsiteY2" fmla="*/ 3397 h 809230"/>
                <a:gd name="connsiteX3" fmla="*/ 594066 w 1178352"/>
                <a:gd name="connsiteY3" fmla="*/ 239068 h 809230"/>
                <a:gd name="connsiteX4" fmla="*/ 808441 w 1178352"/>
                <a:gd name="connsiteY4" fmla="*/ 415111 h 809230"/>
                <a:gd name="connsiteX5" fmla="*/ 1002941 w 1178352"/>
                <a:gd name="connsiteY5" fmla="*/ 608190 h 809230"/>
                <a:gd name="connsiteX6" fmla="*/ 1152009 w 1178352"/>
                <a:gd name="connsiteY6" fmla="*/ 777135 h 809230"/>
                <a:gd name="connsiteX7" fmla="*/ 233462 w 1178352"/>
                <a:gd name="connsiteY7" fmla="*/ 801270 h 809230"/>
                <a:gd name="connsiteX8" fmla="*/ 114207 w 1178352"/>
                <a:gd name="connsiteY8" fmla="*/ 609610 h 80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8352" h="809230">
                  <a:moveTo>
                    <a:pt x="114207" y="609610"/>
                  </a:moveTo>
                  <a:cubicBezTo>
                    <a:pt x="114207" y="609610"/>
                    <a:pt x="-142759" y="373939"/>
                    <a:pt x="114207" y="287338"/>
                  </a:cubicBezTo>
                  <a:cubicBezTo>
                    <a:pt x="371173" y="200736"/>
                    <a:pt x="280313" y="-30676"/>
                    <a:pt x="398148" y="3397"/>
                  </a:cubicBezTo>
                  <a:cubicBezTo>
                    <a:pt x="515983" y="38890"/>
                    <a:pt x="446417" y="229130"/>
                    <a:pt x="594066" y="239068"/>
                  </a:cubicBezTo>
                  <a:cubicBezTo>
                    <a:pt x="741716" y="249006"/>
                    <a:pt x="805602" y="237648"/>
                    <a:pt x="808441" y="415111"/>
                  </a:cubicBezTo>
                  <a:cubicBezTo>
                    <a:pt x="811281" y="592574"/>
                    <a:pt x="849613" y="525848"/>
                    <a:pt x="1002941" y="608190"/>
                  </a:cubicBezTo>
                  <a:cubicBezTo>
                    <a:pt x="1156268" y="690533"/>
                    <a:pt x="1232932" y="721766"/>
                    <a:pt x="1152009" y="777135"/>
                  </a:cubicBezTo>
                  <a:cubicBezTo>
                    <a:pt x="1072506" y="831084"/>
                    <a:pt x="233462" y="801270"/>
                    <a:pt x="233462" y="801270"/>
                  </a:cubicBezTo>
                  <a:lnTo>
                    <a:pt x="114207" y="609610"/>
                  </a:lnTo>
                  <a:close/>
                </a:path>
              </a:pathLst>
            </a:custGeom>
            <a:solidFill>
              <a:srgbClr val="EDDCC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964D2D76-1418-41B0-8393-E442B4A645B8}"/>
                </a:ext>
              </a:extLst>
            </p:cNvPr>
            <p:cNvSpPr/>
            <p:nvPr userDrawn="1"/>
          </p:nvSpPr>
          <p:spPr>
            <a:xfrm>
              <a:off x="5760542" y="4315090"/>
              <a:ext cx="1135762" cy="425911"/>
            </a:xfrm>
            <a:custGeom>
              <a:avLst/>
              <a:gdLst>
                <a:gd name="connsiteX0" fmla="*/ 10716 w 1135761"/>
                <a:gd name="connsiteY0" fmla="*/ 426379 h 425910"/>
                <a:gd name="connsiteX1" fmla="*/ 66085 w 1135761"/>
                <a:gd name="connsiteY1" fmla="*/ 277310 h 425910"/>
                <a:gd name="connsiteX2" fmla="*/ 144168 w 1135761"/>
                <a:gd name="connsiteY2" fmla="*/ 78551 h 425910"/>
                <a:gd name="connsiteX3" fmla="*/ 277620 w 1135761"/>
                <a:gd name="connsiteY3" fmla="*/ 14665 h 425910"/>
                <a:gd name="connsiteX4" fmla="*/ 510451 w 1135761"/>
                <a:gd name="connsiteY4" fmla="*/ 142438 h 425910"/>
                <a:gd name="connsiteX5" fmla="*/ 683655 w 1135761"/>
                <a:gd name="connsiteY5" fmla="*/ 231879 h 425910"/>
                <a:gd name="connsiteX6" fmla="*/ 1145058 w 1135761"/>
                <a:gd name="connsiteY6" fmla="*/ 427798 h 425910"/>
                <a:gd name="connsiteX7" fmla="*/ 10716 w 1135761"/>
                <a:gd name="connsiteY7" fmla="*/ 427798 h 425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761" h="425910">
                  <a:moveTo>
                    <a:pt x="10716" y="426379"/>
                  </a:moveTo>
                  <a:cubicBezTo>
                    <a:pt x="10716" y="426379"/>
                    <a:pt x="-36134" y="335518"/>
                    <a:pt x="66085" y="277310"/>
                  </a:cubicBezTo>
                  <a:cubicBezTo>
                    <a:pt x="66085" y="277310"/>
                    <a:pt x="-10579" y="104106"/>
                    <a:pt x="144168" y="78551"/>
                  </a:cubicBezTo>
                  <a:cubicBezTo>
                    <a:pt x="144168" y="78551"/>
                    <a:pt x="222252" y="-40704"/>
                    <a:pt x="277620" y="14665"/>
                  </a:cubicBezTo>
                  <a:cubicBezTo>
                    <a:pt x="277620" y="14665"/>
                    <a:pt x="487736" y="-10890"/>
                    <a:pt x="510451" y="142438"/>
                  </a:cubicBezTo>
                  <a:cubicBezTo>
                    <a:pt x="510451" y="142438"/>
                    <a:pt x="683655" y="116883"/>
                    <a:pt x="683655" y="231879"/>
                  </a:cubicBezTo>
                  <a:cubicBezTo>
                    <a:pt x="683655" y="231879"/>
                    <a:pt x="1145058" y="236138"/>
                    <a:pt x="1145058" y="427798"/>
                  </a:cubicBezTo>
                  <a:lnTo>
                    <a:pt x="10716" y="427798"/>
                  </a:lnTo>
                  <a:close/>
                </a:path>
              </a:pathLst>
            </a:custGeom>
            <a:solidFill>
              <a:srgbClr val="EDDCCF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EB34171C-E22A-4E16-9C64-99C959585410}"/>
                </a:ext>
              </a:extLst>
            </p:cNvPr>
            <p:cNvSpPr/>
            <p:nvPr userDrawn="1"/>
          </p:nvSpPr>
          <p:spPr>
            <a:xfrm>
              <a:off x="7270464" y="3382813"/>
              <a:ext cx="1334520" cy="1476490"/>
            </a:xfrm>
            <a:custGeom>
              <a:avLst/>
              <a:gdLst>
                <a:gd name="connsiteX0" fmla="*/ 668680 w 1334519"/>
                <a:gd name="connsiteY0" fmla="*/ 0 h 1476490"/>
                <a:gd name="connsiteX1" fmla="*/ 1337359 w 1334519"/>
                <a:gd name="connsiteY1" fmla="*/ 1485008 h 1476490"/>
                <a:gd name="connsiteX2" fmla="*/ 668680 w 1334519"/>
                <a:gd name="connsiteY2" fmla="*/ 1485008 h 1476490"/>
                <a:gd name="connsiteX3" fmla="*/ 0 w 1334519"/>
                <a:gd name="connsiteY3" fmla="*/ 1485008 h 1476490"/>
                <a:gd name="connsiteX4" fmla="*/ 522450 w 1334519"/>
                <a:gd name="connsiteY4" fmla="*/ 298137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4519" h="1476490">
                  <a:moveTo>
                    <a:pt x="668680" y="0"/>
                  </a:moveTo>
                  <a:lnTo>
                    <a:pt x="1337359" y="1485008"/>
                  </a:lnTo>
                  <a:lnTo>
                    <a:pt x="668680" y="1485008"/>
                  </a:lnTo>
                  <a:lnTo>
                    <a:pt x="0" y="1485008"/>
                  </a:lnTo>
                  <a:lnTo>
                    <a:pt x="522450" y="298137"/>
                  </a:lnTo>
                  <a:close/>
                </a:path>
              </a:pathLst>
            </a:custGeom>
            <a:solidFill>
              <a:srgbClr val="01ACE1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A087A8AF-4967-43F8-BB37-FF9D3E91AF9B}"/>
                </a:ext>
              </a:extLst>
            </p:cNvPr>
            <p:cNvSpPr/>
            <p:nvPr userDrawn="1"/>
          </p:nvSpPr>
          <p:spPr>
            <a:xfrm>
              <a:off x="7614031" y="3382813"/>
              <a:ext cx="525290" cy="1476490"/>
            </a:xfrm>
            <a:custGeom>
              <a:avLst/>
              <a:gdLst>
                <a:gd name="connsiteX0" fmla="*/ 0 w 525289"/>
                <a:gd name="connsiteY0" fmla="*/ 1485008 h 1476490"/>
                <a:gd name="connsiteX1" fmla="*/ 325112 w 525289"/>
                <a:gd name="connsiteY1" fmla="*/ 0 h 1476490"/>
                <a:gd name="connsiteX2" fmla="*/ 532388 w 525289"/>
                <a:gd name="connsiteY2" fmla="*/ 148500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5289" h="1476490">
                  <a:moveTo>
                    <a:pt x="0" y="1485008"/>
                  </a:moveTo>
                  <a:lnTo>
                    <a:pt x="325112" y="0"/>
                  </a:lnTo>
                  <a:lnTo>
                    <a:pt x="532388" y="1485008"/>
                  </a:lnTo>
                  <a:close/>
                </a:path>
              </a:pathLst>
            </a:custGeom>
            <a:solidFill>
              <a:srgbClr val="01789D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98C6D4AA-EB22-4FA8-AF8A-528E729367D8}"/>
                </a:ext>
              </a:extLst>
            </p:cNvPr>
            <p:cNvSpPr/>
            <p:nvPr userDrawn="1"/>
          </p:nvSpPr>
          <p:spPr>
            <a:xfrm>
              <a:off x="5390778" y="3378554"/>
              <a:ext cx="2541267" cy="1476490"/>
            </a:xfrm>
            <a:custGeom>
              <a:avLst/>
              <a:gdLst>
                <a:gd name="connsiteX0" fmla="*/ 668680 w 2541266"/>
                <a:gd name="connsiteY0" fmla="*/ 0 h 1476490"/>
                <a:gd name="connsiteX1" fmla="*/ 2548365 w 2541266"/>
                <a:gd name="connsiteY1" fmla="*/ 0 h 1476490"/>
                <a:gd name="connsiteX2" fmla="*/ 1879685 w 2541266"/>
                <a:gd name="connsiteY2" fmla="*/ 1489268 h 1476490"/>
                <a:gd name="connsiteX3" fmla="*/ 0 w 2541266"/>
                <a:gd name="connsiteY3" fmla="*/ 1489268 h 147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1266" h="1476490">
                  <a:moveTo>
                    <a:pt x="668680" y="0"/>
                  </a:moveTo>
                  <a:lnTo>
                    <a:pt x="2548365" y="0"/>
                  </a:lnTo>
                  <a:lnTo>
                    <a:pt x="1879685" y="1489268"/>
                  </a:lnTo>
                  <a:lnTo>
                    <a:pt x="0" y="1489268"/>
                  </a:lnTo>
                  <a:close/>
                </a:path>
              </a:pathLst>
            </a:custGeom>
            <a:solidFill>
              <a:srgbClr val="44D2FE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E215D36C-9016-43FD-946B-525783A0268B}"/>
                </a:ext>
              </a:extLst>
            </p:cNvPr>
            <p:cNvSpPr/>
            <p:nvPr userDrawn="1"/>
          </p:nvSpPr>
          <p:spPr>
            <a:xfrm>
              <a:off x="7070286" y="3378554"/>
              <a:ext cx="866018" cy="1519081"/>
            </a:xfrm>
            <a:custGeom>
              <a:avLst/>
              <a:gdLst>
                <a:gd name="connsiteX0" fmla="*/ 4259 w 866018"/>
                <a:gd name="connsiteY0" fmla="*/ 1527599 h 1519081"/>
                <a:gd name="connsiteX1" fmla="*/ 871697 w 866018"/>
                <a:gd name="connsiteY1" fmla="*/ 5679 h 1519081"/>
                <a:gd name="connsiteX2" fmla="*/ 868857 w 866018"/>
                <a:gd name="connsiteY2" fmla="*/ 0 h 1519081"/>
                <a:gd name="connsiteX3" fmla="*/ 0 w 866018"/>
                <a:gd name="connsiteY3" fmla="*/ 1524760 h 151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6018" h="1519081">
                  <a:moveTo>
                    <a:pt x="4259" y="1527599"/>
                  </a:moveTo>
                  <a:lnTo>
                    <a:pt x="871697" y="5679"/>
                  </a:lnTo>
                  <a:lnTo>
                    <a:pt x="868857" y="0"/>
                  </a:lnTo>
                  <a:lnTo>
                    <a:pt x="0" y="1524760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F48C931B-8B4B-4B99-90C7-2D276E2040B3}"/>
                </a:ext>
              </a:extLst>
            </p:cNvPr>
            <p:cNvSpPr/>
            <p:nvPr userDrawn="1"/>
          </p:nvSpPr>
          <p:spPr>
            <a:xfrm>
              <a:off x="7936304" y="3378554"/>
              <a:ext cx="993791" cy="1490687"/>
            </a:xfrm>
            <a:custGeom>
              <a:avLst/>
              <a:gdLst>
                <a:gd name="connsiteX0" fmla="*/ 988113 w 993791"/>
                <a:gd name="connsiteY0" fmla="*/ 1494946 h 1490687"/>
                <a:gd name="connsiteX1" fmla="*/ 993791 w 993791"/>
                <a:gd name="connsiteY1" fmla="*/ 1490687 h 1490687"/>
                <a:gd name="connsiteX2" fmla="*/ 2839 w 993791"/>
                <a:gd name="connsiteY2" fmla="*/ 0 h 1490687"/>
                <a:gd name="connsiteX3" fmla="*/ 0 w 993791"/>
                <a:gd name="connsiteY3" fmla="*/ 5679 h 149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3791" h="1490687">
                  <a:moveTo>
                    <a:pt x="988113" y="1494946"/>
                  </a:moveTo>
                  <a:lnTo>
                    <a:pt x="993791" y="1490687"/>
                  </a:lnTo>
                  <a:lnTo>
                    <a:pt x="2839" y="0"/>
                  </a:lnTo>
                  <a:lnTo>
                    <a:pt x="0" y="5679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9EDEA0CC-7B65-4066-8953-C0A73BCC7DB6}"/>
                </a:ext>
              </a:extLst>
            </p:cNvPr>
            <p:cNvSpPr/>
            <p:nvPr userDrawn="1"/>
          </p:nvSpPr>
          <p:spPr>
            <a:xfrm>
              <a:off x="10409425" y="3294596"/>
              <a:ext cx="1782575" cy="1573226"/>
            </a:xfrm>
            <a:custGeom>
              <a:avLst/>
              <a:gdLst>
                <a:gd name="connsiteX0" fmla="*/ 412072 w 1782575"/>
                <a:gd name="connsiteY0" fmla="*/ 150 h 1573226"/>
                <a:gd name="connsiteX1" fmla="*/ 1720443 w 1782575"/>
                <a:gd name="connsiteY1" fmla="*/ 600871 h 1573226"/>
                <a:gd name="connsiteX2" fmla="*/ 1782575 w 1782575"/>
                <a:gd name="connsiteY2" fmla="*/ 682726 h 1573226"/>
                <a:gd name="connsiteX3" fmla="*/ 1782575 w 1782575"/>
                <a:gd name="connsiteY3" fmla="*/ 1573226 h 1573226"/>
                <a:gd name="connsiteX4" fmla="*/ 938423 w 1782575"/>
                <a:gd name="connsiteY4" fmla="*/ 1573226 h 1573226"/>
                <a:gd name="connsiteX5" fmla="*/ 0 w 1782575"/>
                <a:gd name="connsiteY5" fmla="*/ 38528 h 1573226"/>
                <a:gd name="connsiteX6" fmla="*/ 412072 w 1782575"/>
                <a:gd name="connsiteY6" fmla="*/ 150 h 157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82575" h="1573226">
                  <a:moveTo>
                    <a:pt x="412072" y="150"/>
                  </a:moveTo>
                  <a:cubicBezTo>
                    <a:pt x="778544" y="4556"/>
                    <a:pt x="1317269" y="108532"/>
                    <a:pt x="1720443" y="600871"/>
                  </a:cubicBezTo>
                  <a:lnTo>
                    <a:pt x="1782575" y="682726"/>
                  </a:lnTo>
                  <a:lnTo>
                    <a:pt x="1782575" y="1573226"/>
                  </a:lnTo>
                  <a:lnTo>
                    <a:pt x="938423" y="1573226"/>
                  </a:lnTo>
                  <a:lnTo>
                    <a:pt x="0" y="38528"/>
                  </a:lnTo>
                  <a:cubicBezTo>
                    <a:pt x="0" y="38528"/>
                    <a:pt x="167758" y="-2788"/>
                    <a:pt x="412072" y="150"/>
                  </a:cubicBezTo>
                  <a:close/>
                </a:path>
              </a:pathLst>
            </a:custGeom>
            <a:solidFill>
              <a:srgbClr val="F9DB59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0D714F01-DF53-4330-BE26-EFEC12FF1028}"/>
                </a:ext>
              </a:extLst>
            </p:cNvPr>
            <p:cNvSpPr/>
            <p:nvPr userDrawn="1"/>
          </p:nvSpPr>
          <p:spPr>
            <a:xfrm>
              <a:off x="9239590" y="3333124"/>
              <a:ext cx="2101159" cy="1533278"/>
            </a:xfrm>
            <a:custGeom>
              <a:avLst/>
              <a:gdLst>
                <a:gd name="connsiteX0" fmla="*/ 1169834 w 2101158"/>
                <a:gd name="connsiteY0" fmla="*/ 0 h 1533278"/>
                <a:gd name="connsiteX1" fmla="*/ 0 w 2101158"/>
                <a:gd name="connsiteY1" fmla="*/ 1534698 h 1533278"/>
                <a:gd name="connsiteX2" fmla="*/ 1169834 w 2101158"/>
                <a:gd name="connsiteY2" fmla="*/ 1534698 h 1533278"/>
                <a:gd name="connsiteX3" fmla="*/ 2108258 w 2101158"/>
                <a:gd name="connsiteY3" fmla="*/ 1534698 h 1533278"/>
                <a:gd name="connsiteX4" fmla="*/ 1169834 w 2101158"/>
                <a:gd name="connsiteY4" fmla="*/ 0 h 1533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1158" h="1533278">
                  <a:moveTo>
                    <a:pt x="1169834" y="0"/>
                  </a:moveTo>
                  <a:cubicBezTo>
                    <a:pt x="315174" y="354926"/>
                    <a:pt x="0" y="1534698"/>
                    <a:pt x="0" y="1534698"/>
                  </a:cubicBezTo>
                  <a:lnTo>
                    <a:pt x="1169834" y="1534698"/>
                  </a:lnTo>
                  <a:lnTo>
                    <a:pt x="2108258" y="1534698"/>
                  </a:lnTo>
                  <a:cubicBezTo>
                    <a:pt x="2108258" y="1534698"/>
                    <a:pt x="1973386" y="577819"/>
                    <a:pt x="1169834" y="0"/>
                  </a:cubicBezTo>
                  <a:close/>
                </a:path>
              </a:pathLst>
            </a:custGeom>
            <a:solidFill>
              <a:srgbClr val="F5BB17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214FF372-080D-4DB7-B07C-E2135D26325D}"/>
                </a:ext>
              </a:extLst>
            </p:cNvPr>
            <p:cNvSpPr/>
            <p:nvPr userDrawn="1"/>
          </p:nvSpPr>
          <p:spPr>
            <a:xfrm>
              <a:off x="9560443" y="3829388"/>
              <a:ext cx="1320323" cy="1036383"/>
            </a:xfrm>
            <a:custGeom>
              <a:avLst/>
              <a:gdLst>
                <a:gd name="connsiteX0" fmla="*/ 0 w 1320322"/>
                <a:gd name="connsiteY0" fmla="*/ 1038433 h 1036382"/>
                <a:gd name="connsiteX1" fmla="*/ 1327421 w 1320322"/>
                <a:gd name="connsiteY1" fmla="*/ 1038433 h 1036382"/>
                <a:gd name="connsiteX2" fmla="*/ 787935 w 1320322"/>
                <a:gd name="connsiteY2" fmla="*/ 631 h 1036382"/>
                <a:gd name="connsiteX3" fmla="*/ 742504 w 1320322"/>
                <a:gd name="connsiteY3" fmla="*/ 631 h 1036382"/>
                <a:gd name="connsiteX4" fmla="*/ 0 w 1320322"/>
                <a:gd name="connsiteY4" fmla="*/ 1038433 h 1036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22" h="1036382">
                  <a:moveTo>
                    <a:pt x="0" y="1038433"/>
                  </a:moveTo>
                  <a:lnTo>
                    <a:pt x="1327421" y="1038433"/>
                  </a:lnTo>
                  <a:cubicBezTo>
                    <a:pt x="1327421" y="1038433"/>
                    <a:pt x="1327421" y="223524"/>
                    <a:pt x="787935" y="631"/>
                  </a:cubicBezTo>
                  <a:cubicBezTo>
                    <a:pt x="787935" y="631"/>
                    <a:pt x="770898" y="-789"/>
                    <a:pt x="742504" y="631"/>
                  </a:cubicBezTo>
                  <a:cubicBezTo>
                    <a:pt x="596275" y="7730"/>
                    <a:pt x="137711" y="108528"/>
                    <a:pt x="0" y="1038433"/>
                  </a:cubicBezTo>
                  <a:close/>
                </a:path>
              </a:pathLst>
            </a:custGeom>
            <a:solidFill>
              <a:srgbClr val="CC5C3A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09E94B99-4B3C-4002-A38B-42A7F591FFF8}"/>
                </a:ext>
              </a:extLst>
            </p:cNvPr>
            <p:cNvSpPr/>
            <p:nvPr userDrawn="1"/>
          </p:nvSpPr>
          <p:spPr>
            <a:xfrm>
              <a:off x="9087682" y="3238004"/>
              <a:ext cx="2370902" cy="1618460"/>
            </a:xfrm>
            <a:custGeom>
              <a:avLst/>
              <a:gdLst>
                <a:gd name="connsiteX0" fmla="*/ 5679 w 2370902"/>
                <a:gd name="connsiteY0" fmla="*/ 1629818 h 1618460"/>
                <a:gd name="connsiteX1" fmla="*/ 762380 w 2370902"/>
                <a:gd name="connsiteY1" fmla="*/ 346407 h 1618460"/>
                <a:gd name="connsiteX2" fmla="*/ 1320323 w 2370902"/>
                <a:gd name="connsiteY2" fmla="*/ 7099 h 1618460"/>
                <a:gd name="connsiteX3" fmla="*/ 2209056 w 2370902"/>
                <a:gd name="connsiteY3" fmla="*/ 1037802 h 1618460"/>
                <a:gd name="connsiteX4" fmla="*/ 2373742 w 2370902"/>
                <a:gd name="connsiteY4" fmla="*/ 1629818 h 1618460"/>
                <a:gd name="connsiteX5" fmla="*/ 2379420 w 2370902"/>
                <a:gd name="connsiteY5" fmla="*/ 1629818 h 1618460"/>
                <a:gd name="connsiteX6" fmla="*/ 2213315 w 2370902"/>
                <a:gd name="connsiteY6" fmla="*/ 1036383 h 1618460"/>
                <a:gd name="connsiteX7" fmla="*/ 1895302 w 2370902"/>
                <a:gd name="connsiteY7" fmla="*/ 503994 h 1618460"/>
                <a:gd name="connsiteX8" fmla="*/ 1323162 w 2370902"/>
                <a:gd name="connsiteY8" fmla="*/ 1420 h 1618460"/>
                <a:gd name="connsiteX9" fmla="*/ 1321742 w 2370902"/>
                <a:gd name="connsiteY9" fmla="*/ 0 h 1618460"/>
                <a:gd name="connsiteX10" fmla="*/ 1320323 w 2370902"/>
                <a:gd name="connsiteY10" fmla="*/ 0 h 1618460"/>
                <a:gd name="connsiteX11" fmla="*/ 758121 w 2370902"/>
                <a:gd name="connsiteY11" fmla="*/ 340729 h 1618460"/>
                <a:gd name="connsiteX12" fmla="*/ 316593 w 2370902"/>
                <a:gd name="connsiteY12" fmla="*/ 840464 h 1618460"/>
                <a:gd name="connsiteX13" fmla="*/ 0 w 2370902"/>
                <a:gd name="connsiteY13" fmla="*/ 1626979 h 1618460"/>
                <a:gd name="connsiteX14" fmla="*/ 5679 w 2370902"/>
                <a:gd name="connsiteY14" fmla="*/ 1629818 h 1618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70902" h="1618460">
                  <a:moveTo>
                    <a:pt x="5679" y="1629818"/>
                  </a:moveTo>
                  <a:cubicBezTo>
                    <a:pt x="140550" y="979594"/>
                    <a:pt x="491217" y="572140"/>
                    <a:pt x="762380" y="346407"/>
                  </a:cubicBezTo>
                  <a:cubicBezTo>
                    <a:pt x="1044900" y="110737"/>
                    <a:pt x="1300447" y="15617"/>
                    <a:pt x="1320323" y="7099"/>
                  </a:cubicBezTo>
                  <a:cubicBezTo>
                    <a:pt x="1818638" y="309495"/>
                    <a:pt x="2078444" y="733986"/>
                    <a:pt x="2209056" y="1037802"/>
                  </a:cubicBezTo>
                  <a:cubicBezTo>
                    <a:pt x="2351026" y="1367173"/>
                    <a:pt x="2373742" y="1626979"/>
                    <a:pt x="2373742" y="1629818"/>
                  </a:cubicBezTo>
                  <a:lnTo>
                    <a:pt x="2379420" y="1629818"/>
                  </a:lnTo>
                  <a:cubicBezTo>
                    <a:pt x="2379420" y="1626979"/>
                    <a:pt x="2355286" y="1365753"/>
                    <a:pt x="2213315" y="1036383"/>
                  </a:cubicBezTo>
                  <a:cubicBezTo>
                    <a:pt x="2129553" y="843303"/>
                    <a:pt x="2023075" y="664421"/>
                    <a:pt x="1895302" y="503994"/>
                  </a:cubicBezTo>
                  <a:cubicBezTo>
                    <a:pt x="1737715" y="303816"/>
                    <a:pt x="1544636" y="134872"/>
                    <a:pt x="1323162" y="1420"/>
                  </a:cubicBezTo>
                  <a:lnTo>
                    <a:pt x="1321742" y="0"/>
                  </a:lnTo>
                  <a:lnTo>
                    <a:pt x="1320323" y="0"/>
                  </a:lnTo>
                  <a:cubicBezTo>
                    <a:pt x="1317483" y="1420"/>
                    <a:pt x="1051999" y="93700"/>
                    <a:pt x="758121" y="340729"/>
                  </a:cubicBezTo>
                  <a:cubicBezTo>
                    <a:pt x="584917" y="485538"/>
                    <a:pt x="437268" y="653063"/>
                    <a:pt x="316593" y="840464"/>
                  </a:cubicBezTo>
                  <a:cubicBezTo>
                    <a:pt x="166105" y="1074714"/>
                    <a:pt x="59627" y="1340199"/>
                    <a:pt x="0" y="1626979"/>
                  </a:cubicBezTo>
                  <a:lnTo>
                    <a:pt x="5679" y="1629818"/>
                  </a:ln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ED90F39F-00B1-402F-A96C-AB29C7B37CAB}"/>
                </a:ext>
              </a:extLst>
            </p:cNvPr>
            <p:cNvSpPr/>
            <p:nvPr userDrawn="1"/>
          </p:nvSpPr>
          <p:spPr>
            <a:xfrm>
              <a:off x="10406585" y="3216857"/>
              <a:ext cx="1785415" cy="573525"/>
            </a:xfrm>
            <a:custGeom>
              <a:avLst/>
              <a:gdLst>
                <a:gd name="connsiteX0" fmla="*/ 312512 w 1785415"/>
                <a:gd name="connsiteY0" fmla="*/ 29 h 573525"/>
                <a:gd name="connsiteX1" fmla="*/ 1013667 w 1785415"/>
                <a:gd name="connsiteY1" fmla="*/ 97811 h 573525"/>
                <a:gd name="connsiteX2" fmla="*/ 1624183 w 1785415"/>
                <a:gd name="connsiteY2" fmla="*/ 413451 h 573525"/>
                <a:gd name="connsiteX3" fmla="*/ 1785415 w 1785415"/>
                <a:gd name="connsiteY3" fmla="*/ 561757 h 573525"/>
                <a:gd name="connsiteX4" fmla="*/ 1785415 w 1785415"/>
                <a:gd name="connsiteY4" fmla="*/ 573525 h 573525"/>
                <a:gd name="connsiteX5" fmla="*/ 1765755 w 1785415"/>
                <a:gd name="connsiteY5" fmla="*/ 551938 h 573525"/>
                <a:gd name="connsiteX6" fmla="*/ 1012247 w 1785415"/>
                <a:gd name="connsiteY6" fmla="*/ 103490 h 573525"/>
                <a:gd name="connsiteX7" fmla="*/ 1420 w 1785415"/>
                <a:gd name="connsiteY7" fmla="*/ 28246 h 573525"/>
                <a:gd name="connsiteX8" fmla="*/ 0 w 1785415"/>
                <a:gd name="connsiteY8" fmla="*/ 22567 h 573525"/>
                <a:gd name="connsiteX9" fmla="*/ 312512 w 1785415"/>
                <a:gd name="connsiteY9" fmla="*/ 29 h 57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85415" h="573525">
                  <a:moveTo>
                    <a:pt x="312512" y="29"/>
                  </a:moveTo>
                  <a:cubicBezTo>
                    <a:pt x="499735" y="-859"/>
                    <a:pt x="751732" y="18308"/>
                    <a:pt x="1013667" y="97811"/>
                  </a:cubicBezTo>
                  <a:cubicBezTo>
                    <a:pt x="1244724" y="168086"/>
                    <a:pt x="1449427" y="273499"/>
                    <a:pt x="1624183" y="413451"/>
                  </a:cubicBezTo>
                  <a:lnTo>
                    <a:pt x="1785415" y="561757"/>
                  </a:lnTo>
                  <a:lnTo>
                    <a:pt x="1785415" y="573525"/>
                  </a:lnTo>
                  <a:lnTo>
                    <a:pt x="1765755" y="551938"/>
                  </a:lnTo>
                  <a:cubicBezTo>
                    <a:pt x="1527955" y="310057"/>
                    <a:pt x="1253597" y="176605"/>
                    <a:pt x="1012247" y="103490"/>
                  </a:cubicBezTo>
                  <a:cubicBezTo>
                    <a:pt x="489797" y="-55517"/>
                    <a:pt x="5679" y="26826"/>
                    <a:pt x="1420" y="28246"/>
                  </a:cubicBezTo>
                  <a:lnTo>
                    <a:pt x="0" y="22567"/>
                  </a:lnTo>
                  <a:cubicBezTo>
                    <a:pt x="2840" y="21857"/>
                    <a:pt x="125289" y="916"/>
                    <a:pt x="312512" y="29"/>
                  </a:cubicBezTo>
                  <a:close/>
                </a:path>
              </a:pathLst>
            </a:custGeom>
            <a:solidFill>
              <a:srgbClr val="8D89A8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66DD1B4C-B8D8-487D-BADA-BC4A27D03587}"/>
                </a:ext>
              </a:extLst>
            </p:cNvPr>
            <p:cNvSpPr/>
            <p:nvPr userDrawn="1"/>
          </p:nvSpPr>
          <p:spPr>
            <a:xfrm>
              <a:off x="7065222" y="4746110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F1C9B1DA-D062-41C0-AB98-D92D9826CF6F}"/>
                </a:ext>
              </a:extLst>
            </p:cNvPr>
            <p:cNvSpPr/>
            <p:nvPr userDrawn="1"/>
          </p:nvSpPr>
          <p:spPr>
            <a:xfrm>
              <a:off x="8916162" y="4743217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B4EB8B84-4A9A-4B06-B068-B6BFEB55CC93}"/>
                </a:ext>
              </a:extLst>
            </p:cNvPr>
            <p:cNvSpPr/>
            <p:nvPr userDrawn="1"/>
          </p:nvSpPr>
          <p:spPr>
            <a:xfrm>
              <a:off x="9077375" y="4743217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9A88AEB2-5BF3-4A4E-85EA-EDF4DBCBB12D}"/>
                </a:ext>
              </a:extLst>
            </p:cNvPr>
            <p:cNvSpPr/>
            <p:nvPr userDrawn="1"/>
          </p:nvSpPr>
          <p:spPr>
            <a:xfrm>
              <a:off x="5159100" y="4746110"/>
              <a:ext cx="14197" cy="156167"/>
            </a:xfrm>
            <a:custGeom>
              <a:avLst/>
              <a:gdLst>
                <a:gd name="connsiteX0" fmla="*/ 25555 w 14197"/>
                <a:gd name="connsiteY0" fmla="*/ 161846 h 156167"/>
                <a:gd name="connsiteX1" fmla="*/ 0 w 14197"/>
                <a:gd name="connsiteY1" fmla="*/ 161846 h 156167"/>
                <a:gd name="connsiteX2" fmla="*/ 0 w 14197"/>
                <a:gd name="connsiteY2" fmla="*/ 0 h 156167"/>
                <a:gd name="connsiteX3" fmla="*/ 25555 w 14197"/>
                <a:gd name="connsiteY3" fmla="*/ 0 h 15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97" h="156167">
                  <a:moveTo>
                    <a:pt x="25555" y="161846"/>
                  </a:moveTo>
                  <a:lnTo>
                    <a:pt x="0" y="161846"/>
                  </a:lnTo>
                  <a:lnTo>
                    <a:pt x="0" y="0"/>
                  </a:lnTo>
                  <a:lnTo>
                    <a:pt x="25555" y="0"/>
                  </a:lnTo>
                  <a:close/>
                </a:path>
              </a:pathLst>
            </a:custGeom>
            <a:solidFill>
              <a:srgbClr val="4B4570"/>
            </a:solidFill>
            <a:ln w="14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878419" y="1510406"/>
            <a:ext cx="6428929" cy="2590838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878419" y="4785970"/>
            <a:ext cx="6428929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accent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78421" y="4489699"/>
            <a:ext cx="6428929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10" Type="http://schemas.openxmlformats.org/officeDocument/2006/relationships/hyperlink" Target="https://github.com/yuequan1997/learn-rust-with-me" TargetMode="External"/><Relationship Id="rId4" Type="http://schemas.openxmlformats.org/officeDocument/2006/relationships/tags" Target="../tags/tag3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41488" y="4423823"/>
            <a:ext cx="5454512" cy="558799"/>
          </a:xfrm>
        </p:spPr>
        <p:txBody>
          <a:bodyPr>
            <a:normAutofit/>
          </a:bodyPr>
          <a:lstStyle/>
          <a:p>
            <a:r>
              <a:rPr lang="zh-CN" altLang="en-US" sz="2000" dirty="0">
                <a:cs typeface="+mn-ea"/>
                <a:sym typeface="+mn-lt"/>
              </a:rPr>
              <a:t>作者：月泉</a:t>
            </a:r>
            <a:endParaRPr lang="en-US" altLang="zh-CN" sz="2000" dirty="0"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41488" y="527422"/>
            <a:ext cx="5454512" cy="3255637"/>
          </a:xfrm>
        </p:spPr>
        <p:txBody>
          <a:bodyPr>
            <a:normAutofit/>
          </a:bodyPr>
          <a:lstStyle/>
          <a:p>
            <a:r>
              <a:rPr lang="zh-CN" altLang="en-US" sz="4800" dirty="0">
                <a:latin typeface="+mn-lt"/>
                <a:ea typeface="+mn-ea"/>
                <a:cs typeface="+mn-ea"/>
                <a:sym typeface="+mn-lt"/>
              </a:rPr>
              <a:t>跟我学</a:t>
            </a:r>
            <a:r>
              <a:rPr lang="en-US" altLang="zh-CN" sz="4800" dirty="0">
                <a:latin typeface="+mn-lt"/>
                <a:ea typeface="+mn-ea"/>
                <a:cs typeface="+mn-ea"/>
                <a:sym typeface="+mn-lt"/>
              </a:rPr>
              <a:t>Rust</a:t>
            </a:r>
            <a:br>
              <a:rPr lang="en-US" altLang="zh-CN" sz="4800" dirty="0">
                <a:latin typeface="+mn-lt"/>
                <a:ea typeface="+mn-ea"/>
                <a:cs typeface="+mn-ea"/>
                <a:sym typeface="+mn-lt"/>
              </a:rPr>
            </a:br>
            <a:br>
              <a:rPr lang="en-US" altLang="zh-CN" sz="4400" dirty="0"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3600" b="0" dirty="0">
                <a:latin typeface="+mn-lt"/>
                <a:ea typeface="+mn-ea"/>
                <a:cs typeface="+mn-ea"/>
                <a:sym typeface="+mn-lt"/>
              </a:rPr>
              <a:t>第二节</a:t>
            </a:r>
            <a:r>
              <a:rPr lang="en-US" altLang="zh-CN" sz="3600" b="0" dirty="0">
                <a:latin typeface="+mn-lt"/>
                <a:ea typeface="+mn-ea"/>
                <a:cs typeface="+mn-ea"/>
                <a:sym typeface="+mn-lt"/>
              </a:rPr>
              <a:t>——Rust</a:t>
            </a:r>
            <a:r>
              <a:rPr lang="zh-CN" altLang="en-US" sz="3600" b="0" dirty="0">
                <a:latin typeface="+mn-lt"/>
                <a:ea typeface="+mn-ea"/>
                <a:cs typeface="+mn-ea"/>
                <a:sym typeface="+mn-lt"/>
              </a:rPr>
              <a:t>数据类型</a:t>
            </a:r>
            <a:endParaRPr lang="zh-CN" altLang="en-US" sz="4400" b="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1200" spc="300" dirty="0">
                <a:cs typeface="+mn-ea"/>
                <a:sym typeface="+mn-lt"/>
              </a:rPr>
              <a:t>分享知识，提升自己。</a:t>
            </a:r>
            <a:endParaRPr lang="en-US" altLang="zh-CN" sz="1200" spc="300" dirty="0"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sz="1200" spc="300" dirty="0">
                <a:cs typeface="+mn-ea"/>
                <a:sym typeface="+mn-lt"/>
              </a:rPr>
              <a:t>www.lunaspring.com</a:t>
            </a:r>
            <a:endParaRPr lang="en-US" altLang="en-US" sz="1200" spc="300" dirty="0">
              <a:cs typeface="+mn-ea"/>
              <a:sym typeface="+mn-lt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68263C95-373C-4044-BECD-28F902D8FF05}"/>
              </a:ext>
            </a:extLst>
          </p:cNvPr>
          <p:cNvSpPr txBox="1"/>
          <p:nvPr/>
        </p:nvSpPr>
        <p:spPr>
          <a:xfrm>
            <a:off x="669925" y="983377"/>
            <a:ext cx="1172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chemeClr val="accent1"/>
                </a:solidFill>
                <a:cs typeface="+mn-ea"/>
                <a:sym typeface="+mn-lt"/>
              </a:rPr>
              <a:t>月泉</a:t>
            </a:r>
            <a:r>
              <a:rPr lang="en-US" altLang="zh-CN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zh-CN" altLang="en-US" dirty="0">
                <a:solidFill>
                  <a:schemeClr val="accent1"/>
                </a:solidFill>
                <a:cs typeface="+mn-ea"/>
                <a:sym typeface="+mn-lt"/>
              </a:rPr>
              <a:t>讲堂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0756C29B-8B3F-4FC9-B64B-8F1CC31086B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8081" y="5623386"/>
            <a:ext cx="1127988" cy="1130097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1713BD70-6014-4359-AA23-4624460365A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9113" y="5623386"/>
            <a:ext cx="1178539" cy="1183522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4E7ACD46-BEC7-46B7-81CE-1E201528DDDB}"/>
              </a:ext>
            </a:extLst>
          </p:cNvPr>
          <p:cNvSpPr txBox="1"/>
          <p:nvPr/>
        </p:nvSpPr>
        <p:spPr>
          <a:xfrm>
            <a:off x="11198909" y="5254054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cs typeface="+mn-ea"/>
                <a:sym typeface="+mn-lt"/>
              </a:rPr>
              <a:t>微信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1425BED3-4EB4-4F50-9363-EB16D164F730}"/>
              </a:ext>
            </a:extLst>
          </p:cNvPr>
          <p:cNvSpPr txBox="1"/>
          <p:nvPr/>
        </p:nvSpPr>
        <p:spPr>
          <a:xfrm>
            <a:off x="10040633" y="5254054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cs typeface="+mn-ea"/>
                <a:sym typeface="+mn-lt"/>
              </a:rPr>
              <a:t>群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AB255692-165F-4210-AE4D-012965EB33DE}"/>
              </a:ext>
            </a:extLst>
          </p:cNvPr>
          <p:cNvSpPr txBox="1"/>
          <p:nvPr/>
        </p:nvSpPr>
        <p:spPr>
          <a:xfrm>
            <a:off x="6312956" y="724845"/>
            <a:ext cx="5532284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54">
              <a:lnSpc>
                <a:spcPct val="90000"/>
              </a:lnSpc>
              <a:spcBef>
                <a:spcPts val="1000"/>
              </a:spcBef>
            </a:pPr>
            <a:r>
              <a:rPr lang="en-US" altLang="zh-CN" sz="1200" spc="300" dirty="0">
                <a:solidFill>
                  <a:schemeClr val="bg1"/>
                </a:solidFill>
                <a:cs typeface="+mn-ea"/>
                <a:sym typeface="+mn-lt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yuequan1997/learn-rust-with-me</a:t>
            </a:r>
            <a:endParaRPr lang="zh-CN" altLang="en-US" sz="1200" spc="3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A6934A49-538C-4D50-A02A-FD54A51594D1}"/>
              </a:ext>
            </a:extLst>
          </p:cNvPr>
          <p:cNvSpPr txBox="1"/>
          <p:nvPr/>
        </p:nvSpPr>
        <p:spPr>
          <a:xfrm>
            <a:off x="8525100" y="267645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cs typeface="+mn-ea"/>
                <a:sym typeface="+mn-lt"/>
              </a:rPr>
              <a:t>示例仓库</a:t>
            </a: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878419" y="1919028"/>
            <a:ext cx="6428929" cy="1543582"/>
          </a:xfrm>
        </p:spPr>
        <p:txBody>
          <a:bodyPr/>
          <a:lstStyle/>
          <a:p>
            <a:r>
              <a:rPr lang="en-US" altLang="zh-CN" sz="6000" b="0" dirty="0">
                <a:latin typeface="+mn-lt"/>
                <a:ea typeface="+mn-ea"/>
                <a:cs typeface="+mn-ea"/>
                <a:sym typeface="+mn-lt"/>
              </a:rPr>
              <a:t>THANKS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spc="300" dirty="0">
                <a:cs typeface="+mn-ea"/>
                <a:sym typeface="+mn-lt"/>
              </a:rPr>
              <a:t>www.lunaspring.com</a:t>
            </a:r>
            <a:endParaRPr lang="en-US" altLang="en-US" spc="300" dirty="0"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pc="300" dirty="0">
                <a:cs typeface="+mn-ea"/>
                <a:sym typeface="+mn-lt"/>
              </a:rPr>
              <a:t>月泉的博客</a:t>
            </a:r>
            <a:endParaRPr lang="en-US" altLang="zh-CN" spc="300" dirty="0">
              <a:cs typeface="+mn-ea"/>
              <a:sym typeface="+mn-lt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DBE854B5-8114-4D76-85B0-1FEBDEF7FF3B}"/>
              </a:ext>
            </a:extLst>
          </p:cNvPr>
          <p:cNvSpPr txBox="1"/>
          <p:nvPr/>
        </p:nvSpPr>
        <p:spPr>
          <a:xfrm>
            <a:off x="9963652" y="983377"/>
            <a:ext cx="1172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chemeClr val="accent1"/>
                </a:solidFill>
                <a:cs typeface="+mn-ea"/>
                <a:sym typeface="+mn-lt"/>
              </a:rPr>
              <a:t>月泉</a:t>
            </a:r>
            <a:r>
              <a:rPr lang="en-US" altLang="zh-CN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zh-CN" altLang="en-US" dirty="0">
                <a:solidFill>
                  <a:schemeClr val="accent1"/>
                </a:solidFill>
                <a:cs typeface="+mn-ea"/>
                <a:sym typeface="+mn-lt"/>
              </a:rPr>
              <a:t>讲堂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6295D843-7F5D-4CFF-9FED-D8BB71BE6470}"/>
              </a:ext>
            </a:extLst>
          </p:cNvPr>
          <p:cNvSpPr txBox="1"/>
          <p:nvPr/>
        </p:nvSpPr>
        <p:spPr>
          <a:xfrm>
            <a:off x="4727676" y="5443727"/>
            <a:ext cx="23615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cs typeface="+mn-ea"/>
                <a:sym typeface="+mn-lt"/>
              </a:rPr>
              <a:t>下节预告：</a:t>
            </a:r>
            <a:r>
              <a:rPr lang="zh-CN" altLang="en-US" b="1" dirty="0"/>
              <a:t>分支</a:t>
            </a:r>
            <a:r>
              <a:rPr lang="en-US" altLang="zh-CN" b="1" dirty="0"/>
              <a:t>/</a:t>
            </a:r>
            <a:r>
              <a:rPr lang="zh-CN" altLang="en-US" b="1" dirty="0"/>
              <a:t>循环</a:t>
            </a:r>
            <a:endParaRPr lang="zh-CN" altLang="en-US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变量声明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基本数据类型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复合数据类型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切片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枚举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字符串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11" name="6f58f329-0b8f-42c6-8d02-594949b0590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0959493-6989-4180-AAF4-3E8B58D175E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5454831" y="3429000"/>
            <a:ext cx="6481763" cy="3114675"/>
            <a:chOff x="2881313" y="1871663"/>
            <a:chExt cx="6481763" cy="3114675"/>
          </a:xfrm>
        </p:grpSpPr>
        <p:sp>
          <p:nvSpPr>
            <p:cNvPr id="12" name="îŝliḓè">
              <a:extLst>
                <a:ext uri="{FF2B5EF4-FFF2-40B4-BE49-F238E27FC236}">
                  <a16:creationId xmlns:a16="http://schemas.microsoft.com/office/drawing/2014/main" id="{E2BDB23D-8E5D-470E-815D-1B5155E38816}"/>
                </a:ext>
              </a:extLst>
            </p:cNvPr>
            <p:cNvSpPr/>
            <p:nvPr/>
          </p:nvSpPr>
          <p:spPr bwMode="auto">
            <a:xfrm>
              <a:off x="3416301" y="1898650"/>
              <a:ext cx="5919788" cy="2490788"/>
            </a:xfrm>
            <a:custGeom>
              <a:avLst/>
              <a:gdLst>
                <a:gd name="T0" fmla="*/ 220 w 221"/>
                <a:gd name="T1" fmla="*/ 24 h 92"/>
                <a:gd name="T2" fmla="*/ 209 w 221"/>
                <a:gd name="T3" fmla="*/ 10 h 92"/>
                <a:gd name="T4" fmla="*/ 209 w 221"/>
                <a:gd name="T5" fmla="*/ 9 h 92"/>
                <a:gd name="T6" fmla="*/ 165 w 221"/>
                <a:gd name="T7" fmla="*/ 5 h 92"/>
                <a:gd name="T8" fmla="*/ 165 w 221"/>
                <a:gd name="T9" fmla="*/ 5 h 92"/>
                <a:gd name="T10" fmla="*/ 32 w 221"/>
                <a:gd name="T11" fmla="*/ 59 h 92"/>
                <a:gd name="T12" fmla="*/ 26 w 221"/>
                <a:gd name="T13" fmla="*/ 57 h 92"/>
                <a:gd name="T14" fmla="*/ 21 w 221"/>
                <a:gd name="T15" fmla="*/ 45 h 92"/>
                <a:gd name="T16" fmla="*/ 20 w 221"/>
                <a:gd name="T17" fmla="*/ 45 h 92"/>
                <a:gd name="T18" fmla="*/ 9 w 221"/>
                <a:gd name="T19" fmla="*/ 40 h 92"/>
                <a:gd name="T20" fmla="*/ 1 w 221"/>
                <a:gd name="T21" fmla="*/ 52 h 92"/>
                <a:gd name="T22" fmla="*/ 6 w 221"/>
                <a:gd name="T23" fmla="*/ 76 h 92"/>
                <a:gd name="T24" fmla="*/ 27 w 221"/>
                <a:gd name="T25" fmla="*/ 92 h 92"/>
                <a:gd name="T26" fmla="*/ 30 w 221"/>
                <a:gd name="T27" fmla="*/ 92 h 92"/>
                <a:gd name="T28" fmla="*/ 174 w 221"/>
                <a:gd name="T29" fmla="*/ 64 h 92"/>
                <a:gd name="T30" fmla="*/ 216 w 221"/>
                <a:gd name="T31" fmla="*/ 41 h 92"/>
                <a:gd name="T32" fmla="*/ 220 w 221"/>
                <a:gd name="T33" fmla="*/ 2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1" h="92">
                  <a:moveTo>
                    <a:pt x="220" y="24"/>
                  </a:moveTo>
                  <a:cubicBezTo>
                    <a:pt x="219" y="18"/>
                    <a:pt x="215" y="13"/>
                    <a:pt x="209" y="10"/>
                  </a:cubicBezTo>
                  <a:cubicBezTo>
                    <a:pt x="209" y="9"/>
                    <a:pt x="209" y="9"/>
                    <a:pt x="209" y="9"/>
                  </a:cubicBezTo>
                  <a:cubicBezTo>
                    <a:pt x="195" y="2"/>
                    <a:pt x="179" y="0"/>
                    <a:pt x="165" y="5"/>
                  </a:cubicBezTo>
                  <a:cubicBezTo>
                    <a:pt x="165" y="5"/>
                    <a:pt x="165" y="5"/>
                    <a:pt x="165" y="5"/>
                  </a:cubicBezTo>
                  <a:cubicBezTo>
                    <a:pt x="32" y="59"/>
                    <a:pt x="32" y="59"/>
                    <a:pt x="32" y="59"/>
                  </a:cubicBezTo>
                  <a:cubicBezTo>
                    <a:pt x="30" y="60"/>
                    <a:pt x="27" y="59"/>
                    <a:pt x="26" y="57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18" y="41"/>
                    <a:pt x="14" y="39"/>
                    <a:pt x="9" y="40"/>
                  </a:cubicBezTo>
                  <a:cubicBezTo>
                    <a:pt x="4" y="41"/>
                    <a:pt x="0" y="46"/>
                    <a:pt x="1" y="52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8" y="86"/>
                    <a:pt x="17" y="92"/>
                    <a:pt x="27" y="92"/>
                  </a:cubicBezTo>
                  <a:cubicBezTo>
                    <a:pt x="28" y="92"/>
                    <a:pt x="29" y="92"/>
                    <a:pt x="30" y="92"/>
                  </a:cubicBezTo>
                  <a:cubicBezTo>
                    <a:pt x="174" y="64"/>
                    <a:pt x="174" y="64"/>
                    <a:pt x="174" y="64"/>
                  </a:cubicBezTo>
                  <a:cubicBezTo>
                    <a:pt x="191" y="63"/>
                    <a:pt x="206" y="55"/>
                    <a:pt x="216" y="41"/>
                  </a:cubicBezTo>
                  <a:cubicBezTo>
                    <a:pt x="220" y="37"/>
                    <a:pt x="221" y="30"/>
                    <a:pt x="220" y="24"/>
                  </a:cubicBezTo>
                  <a:close/>
                </a:path>
              </a:pathLst>
            </a:custGeom>
            <a:solidFill>
              <a:srgbClr val="FBB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" name="ïšļíḍé">
              <a:extLst>
                <a:ext uri="{FF2B5EF4-FFF2-40B4-BE49-F238E27FC236}">
                  <a16:creationId xmlns:a16="http://schemas.microsoft.com/office/drawing/2014/main" id="{4754D277-423B-4CB8-9891-3C20D6457DA8}"/>
                </a:ext>
              </a:extLst>
            </p:cNvPr>
            <p:cNvSpPr/>
            <p:nvPr/>
          </p:nvSpPr>
          <p:spPr bwMode="auto">
            <a:xfrm>
              <a:off x="3630613" y="2359025"/>
              <a:ext cx="5732463" cy="2030413"/>
            </a:xfrm>
            <a:custGeom>
              <a:avLst/>
              <a:gdLst>
                <a:gd name="T0" fmla="*/ 210 w 214"/>
                <a:gd name="T1" fmla="*/ 2 h 75"/>
                <a:gd name="T2" fmla="*/ 209 w 214"/>
                <a:gd name="T3" fmla="*/ 0 h 75"/>
                <a:gd name="T4" fmla="*/ 83 w 214"/>
                <a:gd name="T5" fmla="*/ 38 h 75"/>
                <a:gd name="T6" fmla="*/ 0 w 214"/>
                <a:gd name="T7" fmla="*/ 64 h 75"/>
                <a:gd name="T8" fmla="*/ 2 w 214"/>
                <a:gd name="T9" fmla="*/ 67 h 75"/>
                <a:gd name="T10" fmla="*/ 19 w 214"/>
                <a:gd name="T11" fmla="*/ 75 h 75"/>
                <a:gd name="T12" fmla="*/ 22 w 214"/>
                <a:gd name="T13" fmla="*/ 75 h 75"/>
                <a:gd name="T14" fmla="*/ 166 w 214"/>
                <a:gd name="T15" fmla="*/ 47 h 75"/>
                <a:gd name="T16" fmla="*/ 208 w 214"/>
                <a:gd name="T17" fmla="*/ 24 h 75"/>
                <a:gd name="T18" fmla="*/ 210 w 214"/>
                <a:gd name="T19" fmla="*/ 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4" h="75">
                  <a:moveTo>
                    <a:pt x="210" y="2"/>
                  </a:moveTo>
                  <a:cubicBezTo>
                    <a:pt x="209" y="0"/>
                    <a:pt x="209" y="0"/>
                    <a:pt x="209" y="0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" y="67"/>
                    <a:pt x="2" y="67"/>
                    <a:pt x="2" y="67"/>
                  </a:cubicBezTo>
                  <a:cubicBezTo>
                    <a:pt x="6" y="72"/>
                    <a:pt x="12" y="75"/>
                    <a:pt x="19" y="75"/>
                  </a:cubicBezTo>
                  <a:cubicBezTo>
                    <a:pt x="20" y="75"/>
                    <a:pt x="21" y="75"/>
                    <a:pt x="22" y="75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83" y="46"/>
                    <a:pt x="198" y="38"/>
                    <a:pt x="208" y="24"/>
                  </a:cubicBezTo>
                  <a:cubicBezTo>
                    <a:pt x="213" y="18"/>
                    <a:pt x="214" y="9"/>
                    <a:pt x="210" y="2"/>
                  </a:cubicBezTo>
                  <a:close/>
                </a:path>
              </a:pathLst>
            </a:custGeom>
            <a:solidFill>
              <a:srgbClr val="F794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i$ḷïdé">
              <a:extLst>
                <a:ext uri="{FF2B5EF4-FFF2-40B4-BE49-F238E27FC236}">
                  <a16:creationId xmlns:a16="http://schemas.microsoft.com/office/drawing/2014/main" id="{0D64B75A-0287-461B-BEDA-1D62A8A0B676}"/>
                </a:ext>
              </a:extLst>
            </p:cNvPr>
            <p:cNvSpPr/>
            <p:nvPr/>
          </p:nvSpPr>
          <p:spPr bwMode="auto">
            <a:xfrm>
              <a:off x="3817938" y="1871663"/>
              <a:ext cx="3778250" cy="1679575"/>
            </a:xfrm>
            <a:custGeom>
              <a:avLst/>
              <a:gdLst>
                <a:gd name="T0" fmla="*/ 138 w 141"/>
                <a:gd name="T1" fmla="*/ 38 h 62"/>
                <a:gd name="T2" fmla="*/ 21 w 141"/>
                <a:gd name="T3" fmla="*/ 1 h 62"/>
                <a:gd name="T4" fmla="*/ 8 w 141"/>
                <a:gd name="T5" fmla="*/ 3 h 62"/>
                <a:gd name="T6" fmla="*/ 0 w 141"/>
                <a:gd name="T7" fmla="*/ 13 h 62"/>
                <a:gd name="T8" fmla="*/ 2 w 141"/>
                <a:gd name="T9" fmla="*/ 17 h 62"/>
                <a:gd name="T10" fmla="*/ 75 w 141"/>
                <a:gd name="T11" fmla="*/ 62 h 62"/>
                <a:gd name="T12" fmla="*/ 77 w 141"/>
                <a:gd name="T13" fmla="*/ 62 h 62"/>
                <a:gd name="T14" fmla="*/ 78 w 141"/>
                <a:gd name="T15" fmla="*/ 62 h 62"/>
                <a:gd name="T16" fmla="*/ 138 w 141"/>
                <a:gd name="T17" fmla="*/ 45 h 62"/>
                <a:gd name="T18" fmla="*/ 141 w 141"/>
                <a:gd name="T19" fmla="*/ 42 h 62"/>
                <a:gd name="T20" fmla="*/ 138 w 141"/>
                <a:gd name="T21" fmla="*/ 3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1" h="62">
                  <a:moveTo>
                    <a:pt x="138" y="38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17" y="0"/>
                    <a:pt x="12" y="0"/>
                    <a:pt x="8" y="3"/>
                  </a:cubicBezTo>
                  <a:cubicBezTo>
                    <a:pt x="4" y="5"/>
                    <a:pt x="1" y="9"/>
                    <a:pt x="0" y="13"/>
                  </a:cubicBezTo>
                  <a:cubicBezTo>
                    <a:pt x="0" y="15"/>
                    <a:pt x="1" y="16"/>
                    <a:pt x="2" y="17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6" y="62"/>
                    <a:pt x="76" y="62"/>
                    <a:pt x="77" y="62"/>
                  </a:cubicBezTo>
                  <a:cubicBezTo>
                    <a:pt x="77" y="62"/>
                    <a:pt x="78" y="62"/>
                    <a:pt x="78" y="62"/>
                  </a:cubicBezTo>
                  <a:cubicBezTo>
                    <a:pt x="138" y="45"/>
                    <a:pt x="138" y="45"/>
                    <a:pt x="138" y="45"/>
                  </a:cubicBezTo>
                  <a:cubicBezTo>
                    <a:pt x="140" y="45"/>
                    <a:pt x="141" y="43"/>
                    <a:pt x="141" y="42"/>
                  </a:cubicBezTo>
                  <a:cubicBezTo>
                    <a:pt x="141" y="40"/>
                    <a:pt x="140" y="39"/>
                    <a:pt x="138" y="38"/>
                  </a:cubicBezTo>
                  <a:close/>
                </a:path>
              </a:pathLst>
            </a:custGeom>
            <a:solidFill>
              <a:srgbClr val="074E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" name="îṧļíďé">
              <a:extLst>
                <a:ext uri="{FF2B5EF4-FFF2-40B4-BE49-F238E27FC236}">
                  <a16:creationId xmlns:a16="http://schemas.microsoft.com/office/drawing/2014/main" id="{5748581C-A290-4F9B-BCE6-790EA372711C}"/>
                </a:ext>
              </a:extLst>
            </p:cNvPr>
            <p:cNvSpPr/>
            <p:nvPr/>
          </p:nvSpPr>
          <p:spPr bwMode="auto">
            <a:xfrm>
              <a:off x="8104188" y="1925638"/>
              <a:ext cx="1152525" cy="785813"/>
            </a:xfrm>
            <a:custGeom>
              <a:avLst/>
              <a:gdLst>
                <a:gd name="T0" fmla="*/ 43 w 43"/>
                <a:gd name="T1" fmla="*/ 18 h 29"/>
                <a:gd name="T2" fmla="*/ 34 w 43"/>
                <a:gd name="T3" fmla="*/ 9 h 29"/>
                <a:gd name="T4" fmla="*/ 34 w 43"/>
                <a:gd name="T5" fmla="*/ 9 h 29"/>
                <a:gd name="T6" fmla="*/ 34 w 43"/>
                <a:gd name="T7" fmla="*/ 8 h 29"/>
                <a:gd name="T8" fmla="*/ 2 w 43"/>
                <a:gd name="T9" fmla="*/ 1 h 29"/>
                <a:gd name="T10" fmla="*/ 0 w 43"/>
                <a:gd name="T11" fmla="*/ 3 h 29"/>
                <a:gd name="T12" fmla="*/ 0 w 43"/>
                <a:gd name="T13" fmla="*/ 5 h 29"/>
                <a:gd name="T14" fmla="*/ 0 w 43"/>
                <a:gd name="T15" fmla="*/ 5 h 29"/>
                <a:gd name="T16" fmla="*/ 0 w 43"/>
                <a:gd name="T17" fmla="*/ 5 h 29"/>
                <a:gd name="T18" fmla="*/ 9 w 43"/>
                <a:gd name="T19" fmla="*/ 28 h 29"/>
                <a:gd name="T20" fmla="*/ 12 w 43"/>
                <a:gd name="T21" fmla="*/ 29 h 29"/>
                <a:gd name="T22" fmla="*/ 12 w 43"/>
                <a:gd name="T23" fmla="*/ 29 h 29"/>
                <a:gd name="T24" fmla="*/ 41 w 43"/>
                <a:gd name="T25" fmla="*/ 21 h 29"/>
                <a:gd name="T26" fmla="*/ 43 w 43"/>
                <a:gd name="T27" fmla="*/ 20 h 29"/>
                <a:gd name="T28" fmla="*/ 43 w 43"/>
                <a:gd name="T29" fmla="*/ 1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29">
                  <a:moveTo>
                    <a:pt x="43" y="18"/>
                  </a:moveTo>
                  <a:cubicBezTo>
                    <a:pt x="41" y="14"/>
                    <a:pt x="38" y="11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4" y="3"/>
                    <a:pt x="13" y="0"/>
                    <a:pt x="2" y="1"/>
                  </a:cubicBezTo>
                  <a:cubicBezTo>
                    <a:pt x="1" y="2"/>
                    <a:pt x="1" y="2"/>
                    <a:pt x="0" y="3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9"/>
                    <a:pt x="11" y="29"/>
                    <a:pt x="12" y="29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2" y="21"/>
                    <a:pt x="43" y="21"/>
                    <a:pt x="43" y="20"/>
                  </a:cubicBezTo>
                  <a:cubicBezTo>
                    <a:pt x="43" y="19"/>
                    <a:pt x="43" y="18"/>
                    <a:pt x="43" y="18"/>
                  </a:cubicBezTo>
                  <a:close/>
                </a:path>
              </a:pathLst>
            </a:custGeom>
            <a:solidFill>
              <a:srgbClr val="0131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" name="ïṣḻidé">
              <a:extLst>
                <a:ext uri="{FF2B5EF4-FFF2-40B4-BE49-F238E27FC236}">
                  <a16:creationId xmlns:a16="http://schemas.microsoft.com/office/drawing/2014/main" id="{BDD0285E-2E44-4930-99DE-C1687B4AD4DA}"/>
                </a:ext>
              </a:extLst>
            </p:cNvPr>
            <p:cNvSpPr/>
            <p:nvPr/>
          </p:nvSpPr>
          <p:spPr bwMode="auto">
            <a:xfrm>
              <a:off x="3844926" y="4633913"/>
              <a:ext cx="1098550" cy="352425"/>
            </a:xfrm>
            <a:custGeom>
              <a:avLst/>
              <a:gdLst>
                <a:gd name="T0" fmla="*/ 3 w 41"/>
                <a:gd name="T1" fmla="*/ 13 h 13"/>
                <a:gd name="T2" fmla="*/ 0 w 41"/>
                <a:gd name="T3" fmla="*/ 11 h 13"/>
                <a:gd name="T4" fmla="*/ 2 w 41"/>
                <a:gd name="T5" fmla="*/ 8 h 13"/>
                <a:gd name="T6" fmla="*/ 37 w 41"/>
                <a:gd name="T7" fmla="*/ 0 h 13"/>
                <a:gd name="T8" fmla="*/ 40 w 41"/>
                <a:gd name="T9" fmla="*/ 2 h 13"/>
                <a:gd name="T10" fmla="*/ 38 w 41"/>
                <a:gd name="T11" fmla="*/ 5 h 13"/>
                <a:gd name="T12" fmla="*/ 3 w 41"/>
                <a:gd name="T13" fmla="*/ 13 h 13"/>
                <a:gd name="T14" fmla="*/ 3 w 41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13">
                  <a:moveTo>
                    <a:pt x="3" y="13"/>
                  </a:moveTo>
                  <a:cubicBezTo>
                    <a:pt x="2" y="13"/>
                    <a:pt x="1" y="12"/>
                    <a:pt x="0" y="11"/>
                  </a:cubicBezTo>
                  <a:cubicBezTo>
                    <a:pt x="0" y="9"/>
                    <a:pt x="1" y="8"/>
                    <a:pt x="2" y="8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9" y="0"/>
                    <a:pt x="40" y="0"/>
                    <a:pt x="40" y="2"/>
                  </a:cubicBezTo>
                  <a:cubicBezTo>
                    <a:pt x="41" y="3"/>
                    <a:pt x="40" y="5"/>
                    <a:pt x="38" y="5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lose/>
                </a:path>
              </a:pathLst>
            </a:custGeom>
            <a:solidFill>
              <a:srgbClr val="0131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" name="íṧliḑe">
              <a:extLst>
                <a:ext uri="{FF2B5EF4-FFF2-40B4-BE49-F238E27FC236}">
                  <a16:creationId xmlns:a16="http://schemas.microsoft.com/office/drawing/2014/main" id="{7E927666-F1D2-477D-8F19-C2D2F8C7B8B8}"/>
                </a:ext>
              </a:extLst>
            </p:cNvPr>
            <p:cNvSpPr/>
            <p:nvPr/>
          </p:nvSpPr>
          <p:spPr bwMode="auto">
            <a:xfrm>
              <a:off x="2881313" y="3902075"/>
              <a:ext cx="1660525" cy="487363"/>
            </a:xfrm>
            <a:custGeom>
              <a:avLst/>
              <a:gdLst>
                <a:gd name="T0" fmla="*/ 3 w 62"/>
                <a:gd name="T1" fmla="*/ 18 h 18"/>
                <a:gd name="T2" fmla="*/ 0 w 62"/>
                <a:gd name="T3" fmla="*/ 15 h 18"/>
                <a:gd name="T4" fmla="*/ 2 w 62"/>
                <a:gd name="T5" fmla="*/ 12 h 18"/>
                <a:gd name="T6" fmla="*/ 58 w 62"/>
                <a:gd name="T7" fmla="*/ 0 h 18"/>
                <a:gd name="T8" fmla="*/ 61 w 62"/>
                <a:gd name="T9" fmla="*/ 2 h 18"/>
                <a:gd name="T10" fmla="*/ 59 w 62"/>
                <a:gd name="T11" fmla="*/ 5 h 18"/>
                <a:gd name="T12" fmla="*/ 4 w 62"/>
                <a:gd name="T13" fmla="*/ 17 h 18"/>
                <a:gd name="T14" fmla="*/ 3 w 62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18">
                  <a:moveTo>
                    <a:pt x="3" y="18"/>
                  </a:moveTo>
                  <a:cubicBezTo>
                    <a:pt x="2" y="18"/>
                    <a:pt x="1" y="17"/>
                    <a:pt x="0" y="15"/>
                  </a:cubicBezTo>
                  <a:cubicBezTo>
                    <a:pt x="0" y="14"/>
                    <a:pt x="1" y="13"/>
                    <a:pt x="2" y="12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0" y="0"/>
                    <a:pt x="61" y="0"/>
                    <a:pt x="61" y="2"/>
                  </a:cubicBezTo>
                  <a:cubicBezTo>
                    <a:pt x="62" y="3"/>
                    <a:pt x="61" y="5"/>
                    <a:pt x="59" y="5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7"/>
                    <a:pt x="3" y="18"/>
                    <a:pt x="3" y="18"/>
                  </a:cubicBezTo>
                  <a:close/>
                </a:path>
              </a:pathLst>
            </a:custGeom>
            <a:solidFill>
              <a:srgbClr val="0131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" name="iŝľîḋé">
              <a:extLst>
                <a:ext uri="{FF2B5EF4-FFF2-40B4-BE49-F238E27FC236}">
                  <a16:creationId xmlns:a16="http://schemas.microsoft.com/office/drawing/2014/main" id="{6A2CB89C-DD8A-4BFC-AA6E-4624921B41FE}"/>
                </a:ext>
              </a:extLst>
            </p:cNvPr>
            <p:cNvSpPr/>
            <p:nvPr/>
          </p:nvSpPr>
          <p:spPr bwMode="auto">
            <a:xfrm>
              <a:off x="3817938" y="2143125"/>
              <a:ext cx="2973388" cy="1408113"/>
            </a:xfrm>
            <a:custGeom>
              <a:avLst/>
              <a:gdLst>
                <a:gd name="T0" fmla="*/ 111 w 111"/>
                <a:gd name="T1" fmla="*/ 43 h 52"/>
                <a:gd name="T2" fmla="*/ 5 w 111"/>
                <a:gd name="T3" fmla="*/ 1 h 52"/>
                <a:gd name="T4" fmla="*/ 1 w 111"/>
                <a:gd name="T5" fmla="*/ 2 h 52"/>
                <a:gd name="T6" fmla="*/ 2 w 111"/>
                <a:gd name="T7" fmla="*/ 7 h 52"/>
                <a:gd name="T8" fmla="*/ 75 w 111"/>
                <a:gd name="T9" fmla="*/ 52 h 52"/>
                <a:gd name="T10" fmla="*/ 77 w 111"/>
                <a:gd name="T11" fmla="*/ 52 h 52"/>
                <a:gd name="T12" fmla="*/ 78 w 111"/>
                <a:gd name="T13" fmla="*/ 52 h 52"/>
                <a:gd name="T14" fmla="*/ 111 w 111"/>
                <a:gd name="T15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52">
                  <a:moveTo>
                    <a:pt x="111" y="43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0" y="4"/>
                    <a:pt x="0" y="6"/>
                    <a:pt x="2" y="7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6" y="52"/>
                    <a:pt x="76" y="52"/>
                    <a:pt x="77" y="52"/>
                  </a:cubicBezTo>
                  <a:cubicBezTo>
                    <a:pt x="77" y="52"/>
                    <a:pt x="78" y="52"/>
                    <a:pt x="78" y="52"/>
                  </a:cubicBezTo>
                  <a:lnTo>
                    <a:pt x="111" y="43"/>
                  </a:lnTo>
                  <a:close/>
                </a:path>
              </a:pathLst>
            </a:custGeom>
            <a:solidFill>
              <a:srgbClr val="0131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BD11EE5-47E1-4035-A2B7-19C2E3AF8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变量声明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67666BC-59F7-4E7F-8671-AA1B72E44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月泉的博客  </a:t>
            </a:r>
            <a:r>
              <a:rPr lang="en-US" altLang="zh-CN" dirty="0">
                <a:cs typeface="+mn-ea"/>
                <a:sym typeface="+mn-lt"/>
              </a:rPr>
              <a:t>www.lunaspring.com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385EB3A-2EBC-4BF1-9376-F73050A0C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3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28205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33F6E12-8E65-41B6-9AD9-5A684C37BCD3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399" y="1433601"/>
            <a:ext cx="11236132" cy="4158547"/>
            <a:chOff x="660399" y="1433601"/>
            <a:chExt cx="8451570" cy="4158547"/>
          </a:xfrm>
        </p:grpSpPr>
        <p:grpSp>
          <p:nvGrpSpPr>
            <p:cNvPr id="6" name="î$ḷîḍè">
              <a:extLst>
                <a:ext uri="{FF2B5EF4-FFF2-40B4-BE49-F238E27FC236}">
                  <a16:creationId xmlns:a16="http://schemas.microsoft.com/office/drawing/2014/main" id="{ADAECCA9-AEAF-4CFA-B47B-84D9509203CE}"/>
                </a:ext>
              </a:extLst>
            </p:cNvPr>
            <p:cNvGrpSpPr/>
            <p:nvPr/>
          </p:nvGrpSpPr>
          <p:grpSpPr>
            <a:xfrm>
              <a:off x="660399" y="1672252"/>
              <a:ext cx="3544047" cy="1547973"/>
              <a:chOff x="660400" y="1282700"/>
              <a:chExt cx="3248212" cy="1547973"/>
            </a:xfrm>
          </p:grpSpPr>
          <p:sp>
            <p:nvSpPr>
              <p:cNvPr id="28" name="íṣḷiḋe">
                <a:extLst>
                  <a:ext uri="{FF2B5EF4-FFF2-40B4-BE49-F238E27FC236}">
                    <a16:creationId xmlns:a16="http://schemas.microsoft.com/office/drawing/2014/main" id="{9E9A2684-8FFE-4709-90ED-8131EF38AC9D}"/>
                  </a:ext>
                </a:extLst>
              </p:cNvPr>
              <p:cNvSpPr/>
              <p:nvPr/>
            </p:nvSpPr>
            <p:spPr>
              <a:xfrm>
                <a:off x="660400" y="1724505"/>
                <a:ext cx="3248212" cy="1106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000" dirty="0">
                    <a:cs typeface="+mn-ea"/>
                    <a:sym typeface="+mn-lt"/>
                  </a:rPr>
                  <a:t>默认不可变、可变</a:t>
                </a:r>
                <a:endParaRPr lang="en-US" altLang="zh-CN" sz="1000" dirty="0">
                  <a:cs typeface="+mn-ea"/>
                  <a:sym typeface="+mn-lt"/>
                </a:endParaRPr>
              </a:p>
            </p:txBody>
          </p:sp>
          <p:sp>
            <p:nvSpPr>
              <p:cNvPr id="29" name="íṥļïḓê">
                <a:extLst>
                  <a:ext uri="{FF2B5EF4-FFF2-40B4-BE49-F238E27FC236}">
                    <a16:creationId xmlns:a16="http://schemas.microsoft.com/office/drawing/2014/main" id="{B4AB7E7C-323A-41A9-8AA6-0017E59C7F85}"/>
                  </a:ext>
                </a:extLst>
              </p:cNvPr>
              <p:cNvSpPr txBox="1"/>
              <p:nvPr/>
            </p:nvSpPr>
            <p:spPr bwMode="auto">
              <a:xfrm>
                <a:off x="660400" y="1282700"/>
                <a:ext cx="3248212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01.</a:t>
                </a:r>
                <a:r>
                  <a:rPr lang="zh-CN" altLang="en-US" b="1" dirty="0">
                    <a:cs typeface="+mn-ea"/>
                    <a:sym typeface="+mn-lt"/>
                  </a:rPr>
                  <a:t>语法</a:t>
                </a:r>
                <a:endParaRPr lang="en-US" altLang="zh-CN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7" name="îṣḷíḍê">
              <a:extLst>
                <a:ext uri="{FF2B5EF4-FFF2-40B4-BE49-F238E27FC236}">
                  <a16:creationId xmlns:a16="http://schemas.microsoft.com/office/drawing/2014/main" id="{77836BE1-2FEA-464F-91B4-1BED00B1AFC7}"/>
                </a:ext>
              </a:extLst>
            </p:cNvPr>
            <p:cNvGrpSpPr/>
            <p:nvPr/>
          </p:nvGrpSpPr>
          <p:grpSpPr>
            <a:xfrm>
              <a:off x="4442943" y="1433601"/>
              <a:ext cx="2262095" cy="2025275"/>
              <a:chOff x="4442943" y="1130300"/>
              <a:chExt cx="2262095" cy="2025275"/>
            </a:xfrm>
          </p:grpSpPr>
          <p:sp>
            <p:nvSpPr>
              <p:cNvPr id="26" name="ïśļîḍé">
                <a:extLst>
                  <a:ext uri="{FF2B5EF4-FFF2-40B4-BE49-F238E27FC236}">
                    <a16:creationId xmlns:a16="http://schemas.microsoft.com/office/drawing/2014/main" id="{5A133F4E-68C5-42FD-AFA8-D947C68FB184}"/>
                  </a:ext>
                </a:extLst>
              </p:cNvPr>
              <p:cNvSpPr/>
              <p:nvPr/>
            </p:nvSpPr>
            <p:spPr>
              <a:xfrm>
                <a:off x="4442943" y="1130300"/>
                <a:ext cx="2262095" cy="2025275"/>
              </a:xfrm>
              <a:prstGeom prst="rect">
                <a:avLst/>
              </a:prstGeom>
              <a:pattFill prst="pct5">
                <a:fgClr>
                  <a:srgbClr val="E4E6EA"/>
                </a:fgClr>
                <a:bgClr>
                  <a:srgbClr val="ADB5BF"/>
                </a:bgClr>
              </a:pattFill>
              <a:ln w="28575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7" name="iśḻïḑé">
                <a:extLst>
                  <a:ext uri="{FF2B5EF4-FFF2-40B4-BE49-F238E27FC236}">
                    <a16:creationId xmlns:a16="http://schemas.microsoft.com/office/drawing/2014/main" id="{4CA98CE3-2761-4858-9D20-F5D93EE0A8D2}"/>
                  </a:ext>
                </a:extLst>
              </p:cNvPr>
              <p:cNvSpPr/>
              <p:nvPr/>
            </p:nvSpPr>
            <p:spPr>
              <a:xfrm>
                <a:off x="4442943" y="2663265"/>
                <a:ext cx="2262095" cy="492310"/>
              </a:xfrm>
              <a:prstGeom prst="rect">
                <a:avLst/>
              </a:prstGeom>
              <a:solidFill>
                <a:schemeClr val="accent1">
                  <a:alpha val="70000"/>
                </a:schemeClr>
              </a:solidFill>
              <a:ln w="28575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r>
                  <a:rPr lang="en-US" altLang="zh-CN" sz="1400" dirty="0">
                    <a:cs typeface="+mn-ea"/>
                    <a:sym typeface="+mn-lt"/>
                  </a:rPr>
                  <a:t>let</a:t>
                </a:r>
                <a:endParaRPr lang="id-ID" altLang="zh-CN" sz="14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8" name="íṥḻïḍé">
              <a:extLst>
                <a:ext uri="{FF2B5EF4-FFF2-40B4-BE49-F238E27FC236}">
                  <a16:creationId xmlns:a16="http://schemas.microsoft.com/office/drawing/2014/main" id="{F1E7B3E6-B69C-44EE-8611-DA0D681F1F61}"/>
                </a:ext>
              </a:extLst>
            </p:cNvPr>
            <p:cNvGrpSpPr/>
            <p:nvPr/>
          </p:nvGrpSpPr>
          <p:grpSpPr>
            <a:xfrm>
              <a:off x="6849874" y="1433601"/>
              <a:ext cx="2262095" cy="2025275"/>
              <a:chOff x="4442943" y="1130300"/>
              <a:chExt cx="2262095" cy="2025275"/>
            </a:xfrm>
          </p:grpSpPr>
          <p:sp>
            <p:nvSpPr>
              <p:cNvPr id="24" name="íŝľíḍé">
                <a:extLst>
                  <a:ext uri="{FF2B5EF4-FFF2-40B4-BE49-F238E27FC236}">
                    <a16:creationId xmlns:a16="http://schemas.microsoft.com/office/drawing/2014/main" id="{6976E655-8CFC-46AA-A885-FFBDD737590F}"/>
                  </a:ext>
                </a:extLst>
              </p:cNvPr>
              <p:cNvSpPr/>
              <p:nvPr/>
            </p:nvSpPr>
            <p:spPr>
              <a:xfrm>
                <a:off x="4442943" y="1130300"/>
                <a:ext cx="2262095" cy="2025275"/>
              </a:xfrm>
              <a:prstGeom prst="rect">
                <a:avLst/>
              </a:prstGeom>
              <a:pattFill prst="pct5">
                <a:fgClr>
                  <a:srgbClr val="E4E6EA"/>
                </a:fgClr>
                <a:bgClr>
                  <a:srgbClr val="ADB5BF"/>
                </a:bgClr>
              </a:pattFill>
              <a:ln w="28575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5" name="í$ḻîḑê">
                <a:extLst>
                  <a:ext uri="{FF2B5EF4-FFF2-40B4-BE49-F238E27FC236}">
                    <a16:creationId xmlns:a16="http://schemas.microsoft.com/office/drawing/2014/main" id="{A1E63C30-AA1A-4209-976E-B8532A56459F}"/>
                  </a:ext>
                </a:extLst>
              </p:cNvPr>
              <p:cNvSpPr/>
              <p:nvPr/>
            </p:nvSpPr>
            <p:spPr>
              <a:xfrm>
                <a:off x="4442943" y="2663265"/>
                <a:ext cx="2262095" cy="492310"/>
              </a:xfrm>
              <a:prstGeom prst="rect">
                <a:avLst/>
              </a:prstGeom>
              <a:solidFill>
                <a:schemeClr val="accent1">
                  <a:alpha val="70000"/>
                </a:schemeClr>
              </a:solidFill>
              <a:ln w="28575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r>
                  <a:rPr lang="en-US" altLang="zh-CN" sz="1400" dirty="0">
                    <a:cs typeface="+mn-ea"/>
                    <a:sym typeface="+mn-lt"/>
                  </a:rPr>
                  <a:t>let </a:t>
                </a:r>
                <a:r>
                  <a:rPr lang="en-US" altLang="zh-CN" sz="1400" dirty="0" err="1">
                    <a:cs typeface="+mn-ea"/>
                    <a:sym typeface="+mn-lt"/>
                  </a:rPr>
                  <a:t>mut</a:t>
                </a:r>
                <a:endParaRPr lang="id-ID" altLang="zh-CN" sz="14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î$ļîḓê">
              <a:extLst>
                <a:ext uri="{FF2B5EF4-FFF2-40B4-BE49-F238E27FC236}">
                  <a16:creationId xmlns:a16="http://schemas.microsoft.com/office/drawing/2014/main" id="{96BD2D65-957E-42DA-8B31-FB2985574D71}"/>
                </a:ext>
              </a:extLst>
            </p:cNvPr>
            <p:cNvGrpSpPr/>
            <p:nvPr/>
          </p:nvGrpSpPr>
          <p:grpSpPr>
            <a:xfrm>
              <a:off x="660399" y="4044175"/>
              <a:ext cx="3544047" cy="1547973"/>
              <a:chOff x="660400" y="1282700"/>
              <a:chExt cx="3248212" cy="1547973"/>
            </a:xfrm>
          </p:grpSpPr>
          <p:sp>
            <p:nvSpPr>
              <p:cNvPr id="20" name="íṥḷïḍe">
                <a:extLst>
                  <a:ext uri="{FF2B5EF4-FFF2-40B4-BE49-F238E27FC236}">
                    <a16:creationId xmlns:a16="http://schemas.microsoft.com/office/drawing/2014/main" id="{9E9A2684-8FFE-4709-90ED-8131EF38AC9D}"/>
                  </a:ext>
                </a:extLst>
              </p:cNvPr>
              <p:cNvSpPr/>
              <p:nvPr/>
            </p:nvSpPr>
            <p:spPr>
              <a:xfrm>
                <a:off x="660400" y="1724505"/>
                <a:ext cx="3248212" cy="1106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000" dirty="0">
                    <a:cs typeface="+mn-ea"/>
                    <a:sym typeface="+mn-lt"/>
                  </a:rPr>
                  <a:t>它是它，它不是它。</a:t>
                </a:r>
                <a:endParaRPr lang="en-US" altLang="zh-CN" sz="1000" dirty="0">
                  <a:cs typeface="+mn-ea"/>
                  <a:sym typeface="+mn-lt"/>
                </a:endParaRPr>
              </a:p>
            </p:txBody>
          </p:sp>
          <p:sp>
            <p:nvSpPr>
              <p:cNvPr id="21" name="ïṥ1iḓé">
                <a:extLst>
                  <a:ext uri="{FF2B5EF4-FFF2-40B4-BE49-F238E27FC236}">
                    <a16:creationId xmlns:a16="http://schemas.microsoft.com/office/drawing/2014/main" id="{B4AB7E7C-323A-41A9-8AA6-0017E59C7F85}"/>
                  </a:ext>
                </a:extLst>
              </p:cNvPr>
              <p:cNvSpPr txBox="1"/>
              <p:nvPr/>
            </p:nvSpPr>
            <p:spPr bwMode="auto">
              <a:xfrm>
                <a:off x="660400" y="1282700"/>
                <a:ext cx="3248212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02.</a:t>
                </a:r>
                <a:r>
                  <a:rPr lang="zh-CN" altLang="en-US" b="1" dirty="0">
                    <a:cs typeface="+mn-ea"/>
                    <a:sym typeface="+mn-lt"/>
                  </a:rPr>
                  <a:t>变量遮盖</a:t>
                </a:r>
                <a:endParaRPr lang="en-US" altLang="zh-CN" b="1" dirty="0"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30" name="36616922-28ac-4920-92ce-368fdc1ddbd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72AF717-F73A-4BF8-995B-3A0CA8EBD6A7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442943" y="3810287"/>
            <a:ext cx="7314454" cy="2626752"/>
            <a:chOff x="3041650" y="984250"/>
            <a:chExt cx="6138863" cy="4883150"/>
          </a:xfrm>
        </p:grpSpPr>
        <p:sp>
          <p:nvSpPr>
            <p:cNvPr id="31" name="iSļïďè">
              <a:extLst>
                <a:ext uri="{FF2B5EF4-FFF2-40B4-BE49-F238E27FC236}">
                  <a16:creationId xmlns:a16="http://schemas.microsoft.com/office/drawing/2014/main" id="{D5873A0C-68A2-4A55-B0CA-0E5A2972F85A}"/>
                </a:ext>
              </a:extLst>
            </p:cNvPr>
            <p:cNvSpPr/>
            <p:nvPr/>
          </p:nvSpPr>
          <p:spPr bwMode="auto">
            <a:xfrm>
              <a:off x="3041650" y="5264150"/>
              <a:ext cx="6115050" cy="603250"/>
            </a:xfrm>
            <a:prstGeom prst="ellipse">
              <a:avLst/>
            </a:prstGeom>
            <a:solidFill>
              <a:srgbClr val="EAF5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" name="íślïďe">
              <a:extLst>
                <a:ext uri="{FF2B5EF4-FFF2-40B4-BE49-F238E27FC236}">
                  <a16:creationId xmlns:a16="http://schemas.microsoft.com/office/drawing/2014/main" id="{22323265-3CEF-48E9-A865-AF24B2C85993}"/>
                </a:ext>
              </a:extLst>
            </p:cNvPr>
            <p:cNvSpPr/>
            <p:nvPr/>
          </p:nvSpPr>
          <p:spPr bwMode="auto">
            <a:xfrm>
              <a:off x="5422900" y="2489200"/>
              <a:ext cx="352425" cy="376238"/>
            </a:xfrm>
            <a:custGeom>
              <a:avLst/>
              <a:gdLst>
                <a:gd name="T0" fmla="*/ 166 w 222"/>
                <a:gd name="T1" fmla="*/ 0 h 237"/>
                <a:gd name="T2" fmla="*/ 112 w 222"/>
                <a:gd name="T3" fmla="*/ 0 h 237"/>
                <a:gd name="T4" fmla="*/ 56 w 222"/>
                <a:gd name="T5" fmla="*/ 0 h 237"/>
                <a:gd name="T6" fmla="*/ 0 w 222"/>
                <a:gd name="T7" fmla="*/ 144 h 237"/>
                <a:gd name="T8" fmla="*/ 112 w 222"/>
                <a:gd name="T9" fmla="*/ 237 h 237"/>
                <a:gd name="T10" fmla="*/ 222 w 222"/>
                <a:gd name="T11" fmla="*/ 133 h 237"/>
                <a:gd name="T12" fmla="*/ 166 w 222"/>
                <a:gd name="T13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2" h="237">
                  <a:moveTo>
                    <a:pt x="166" y="0"/>
                  </a:moveTo>
                  <a:lnTo>
                    <a:pt x="112" y="0"/>
                  </a:lnTo>
                  <a:lnTo>
                    <a:pt x="56" y="0"/>
                  </a:lnTo>
                  <a:lnTo>
                    <a:pt x="0" y="144"/>
                  </a:lnTo>
                  <a:lnTo>
                    <a:pt x="112" y="237"/>
                  </a:lnTo>
                  <a:lnTo>
                    <a:pt x="222" y="133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FECE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3" name="ïSḻïḋé">
              <a:extLst>
                <a:ext uri="{FF2B5EF4-FFF2-40B4-BE49-F238E27FC236}">
                  <a16:creationId xmlns:a16="http://schemas.microsoft.com/office/drawing/2014/main" id="{7EF622FA-FA3D-4A00-9FAA-3EEF88AD6129}"/>
                </a:ext>
              </a:extLst>
            </p:cNvPr>
            <p:cNvSpPr/>
            <p:nvPr/>
          </p:nvSpPr>
          <p:spPr bwMode="auto">
            <a:xfrm>
              <a:off x="5287963" y="1838325"/>
              <a:ext cx="623888" cy="766763"/>
            </a:xfrm>
            <a:custGeom>
              <a:avLst/>
              <a:gdLst>
                <a:gd name="T0" fmla="*/ 189 w 189"/>
                <a:gd name="T1" fmla="*/ 105 h 233"/>
                <a:gd name="T2" fmla="*/ 94 w 189"/>
                <a:gd name="T3" fmla="*/ 6 h 233"/>
                <a:gd name="T4" fmla="*/ 0 w 189"/>
                <a:gd name="T5" fmla="*/ 105 h 233"/>
                <a:gd name="T6" fmla="*/ 15 w 189"/>
                <a:gd name="T7" fmla="*/ 188 h 233"/>
                <a:gd name="T8" fmla="*/ 94 w 189"/>
                <a:gd name="T9" fmla="*/ 233 h 233"/>
                <a:gd name="T10" fmla="*/ 174 w 189"/>
                <a:gd name="T11" fmla="*/ 188 h 233"/>
                <a:gd name="T12" fmla="*/ 189 w 189"/>
                <a:gd name="T13" fmla="*/ 105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9" h="233">
                  <a:moveTo>
                    <a:pt x="189" y="105"/>
                  </a:moveTo>
                  <a:cubicBezTo>
                    <a:pt x="189" y="2"/>
                    <a:pt x="94" y="6"/>
                    <a:pt x="94" y="6"/>
                  </a:cubicBezTo>
                  <a:cubicBezTo>
                    <a:pt x="94" y="6"/>
                    <a:pt x="0" y="0"/>
                    <a:pt x="0" y="105"/>
                  </a:cubicBezTo>
                  <a:cubicBezTo>
                    <a:pt x="0" y="105"/>
                    <a:pt x="0" y="165"/>
                    <a:pt x="15" y="188"/>
                  </a:cubicBezTo>
                  <a:cubicBezTo>
                    <a:pt x="34" y="218"/>
                    <a:pt x="70" y="233"/>
                    <a:pt x="94" y="233"/>
                  </a:cubicBezTo>
                  <a:cubicBezTo>
                    <a:pt x="119" y="233"/>
                    <a:pt x="155" y="220"/>
                    <a:pt x="174" y="188"/>
                  </a:cubicBezTo>
                  <a:cubicBezTo>
                    <a:pt x="189" y="163"/>
                    <a:pt x="189" y="105"/>
                    <a:pt x="189" y="105"/>
                  </a:cubicBezTo>
                  <a:close/>
                </a:path>
              </a:pathLst>
            </a:custGeom>
            <a:solidFill>
              <a:srgbClr val="FECE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4" name="iṩ1íḋè">
              <a:extLst>
                <a:ext uri="{FF2B5EF4-FFF2-40B4-BE49-F238E27FC236}">
                  <a16:creationId xmlns:a16="http://schemas.microsoft.com/office/drawing/2014/main" id="{BBD70723-1170-4DC4-A9FA-FA1AA2A206F1}"/>
                </a:ext>
              </a:extLst>
            </p:cNvPr>
            <p:cNvSpPr/>
            <p:nvPr/>
          </p:nvSpPr>
          <p:spPr bwMode="auto">
            <a:xfrm>
              <a:off x="5891213" y="2179638"/>
              <a:ext cx="73025" cy="171450"/>
            </a:xfrm>
            <a:custGeom>
              <a:avLst/>
              <a:gdLst>
                <a:gd name="T0" fmla="*/ 3 w 22"/>
                <a:gd name="T1" fmla="*/ 13 h 52"/>
                <a:gd name="T2" fmla="*/ 15 w 22"/>
                <a:gd name="T3" fmla="*/ 9 h 52"/>
                <a:gd name="T4" fmla="*/ 0 w 22"/>
                <a:gd name="T5" fmla="*/ 52 h 52"/>
                <a:gd name="T6" fmla="*/ 3 w 22"/>
                <a:gd name="T7" fmla="*/ 1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52">
                  <a:moveTo>
                    <a:pt x="3" y="13"/>
                  </a:moveTo>
                  <a:cubicBezTo>
                    <a:pt x="3" y="13"/>
                    <a:pt x="9" y="0"/>
                    <a:pt x="15" y="9"/>
                  </a:cubicBezTo>
                  <a:cubicBezTo>
                    <a:pt x="22" y="17"/>
                    <a:pt x="21" y="52"/>
                    <a:pt x="0" y="52"/>
                  </a:cubicBezTo>
                  <a:cubicBezTo>
                    <a:pt x="0" y="52"/>
                    <a:pt x="3" y="21"/>
                    <a:pt x="3" y="13"/>
                  </a:cubicBezTo>
                  <a:close/>
                </a:path>
              </a:pathLst>
            </a:custGeom>
            <a:solidFill>
              <a:srgbClr val="FECE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5" name="ïs1ïḍè">
              <a:extLst>
                <a:ext uri="{FF2B5EF4-FFF2-40B4-BE49-F238E27FC236}">
                  <a16:creationId xmlns:a16="http://schemas.microsoft.com/office/drawing/2014/main" id="{AA2E90AF-78B9-4059-886B-3BC148587DBC}"/>
                </a:ext>
              </a:extLst>
            </p:cNvPr>
            <p:cNvSpPr/>
            <p:nvPr/>
          </p:nvSpPr>
          <p:spPr bwMode="auto">
            <a:xfrm>
              <a:off x="5900738" y="2222500"/>
              <a:ext cx="42863" cy="88900"/>
            </a:xfrm>
            <a:custGeom>
              <a:avLst/>
              <a:gdLst>
                <a:gd name="T0" fmla="*/ 0 w 13"/>
                <a:gd name="T1" fmla="*/ 13 h 27"/>
                <a:gd name="T2" fmla="*/ 9 w 13"/>
                <a:gd name="T3" fmla="*/ 7 h 27"/>
                <a:gd name="T4" fmla="*/ 4 w 13"/>
                <a:gd name="T5" fmla="*/ 27 h 27"/>
                <a:gd name="T6" fmla="*/ 0 w 13"/>
                <a:gd name="T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7">
                  <a:moveTo>
                    <a:pt x="0" y="13"/>
                  </a:moveTo>
                  <a:cubicBezTo>
                    <a:pt x="0" y="13"/>
                    <a:pt x="4" y="0"/>
                    <a:pt x="9" y="7"/>
                  </a:cubicBezTo>
                  <a:cubicBezTo>
                    <a:pt x="13" y="13"/>
                    <a:pt x="11" y="21"/>
                    <a:pt x="4" y="27"/>
                  </a:cubicBezTo>
                  <a:cubicBezTo>
                    <a:pt x="4" y="27"/>
                    <a:pt x="7" y="4"/>
                    <a:pt x="0" y="13"/>
                  </a:cubicBezTo>
                  <a:close/>
                </a:path>
              </a:pathLst>
            </a:custGeom>
            <a:solidFill>
              <a:srgbClr val="EEB8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6" name="îŝḻíḍé">
              <a:extLst>
                <a:ext uri="{FF2B5EF4-FFF2-40B4-BE49-F238E27FC236}">
                  <a16:creationId xmlns:a16="http://schemas.microsoft.com/office/drawing/2014/main" id="{C7B72085-EF24-485A-9AA0-C94728D89969}"/>
                </a:ext>
              </a:extLst>
            </p:cNvPr>
            <p:cNvSpPr/>
            <p:nvPr/>
          </p:nvSpPr>
          <p:spPr bwMode="auto">
            <a:xfrm>
              <a:off x="5229225" y="2179638"/>
              <a:ext cx="74613" cy="171450"/>
            </a:xfrm>
            <a:custGeom>
              <a:avLst/>
              <a:gdLst>
                <a:gd name="T0" fmla="*/ 19 w 23"/>
                <a:gd name="T1" fmla="*/ 13 h 52"/>
                <a:gd name="T2" fmla="*/ 6 w 23"/>
                <a:gd name="T3" fmla="*/ 9 h 52"/>
                <a:gd name="T4" fmla="*/ 23 w 23"/>
                <a:gd name="T5" fmla="*/ 52 h 52"/>
                <a:gd name="T6" fmla="*/ 19 w 23"/>
                <a:gd name="T7" fmla="*/ 1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52">
                  <a:moveTo>
                    <a:pt x="19" y="13"/>
                  </a:moveTo>
                  <a:cubicBezTo>
                    <a:pt x="19" y="13"/>
                    <a:pt x="13" y="0"/>
                    <a:pt x="6" y="9"/>
                  </a:cubicBezTo>
                  <a:cubicBezTo>
                    <a:pt x="0" y="17"/>
                    <a:pt x="2" y="52"/>
                    <a:pt x="23" y="52"/>
                  </a:cubicBezTo>
                  <a:cubicBezTo>
                    <a:pt x="23" y="52"/>
                    <a:pt x="19" y="21"/>
                    <a:pt x="19" y="13"/>
                  </a:cubicBezTo>
                  <a:close/>
                </a:path>
              </a:pathLst>
            </a:custGeom>
            <a:solidFill>
              <a:srgbClr val="FECE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7" name="í$ḻíḑè">
              <a:extLst>
                <a:ext uri="{FF2B5EF4-FFF2-40B4-BE49-F238E27FC236}">
                  <a16:creationId xmlns:a16="http://schemas.microsoft.com/office/drawing/2014/main" id="{1CB0003C-BEED-497C-B769-ECDA7D30D3C7}"/>
                </a:ext>
              </a:extLst>
            </p:cNvPr>
            <p:cNvSpPr/>
            <p:nvPr/>
          </p:nvSpPr>
          <p:spPr bwMode="auto">
            <a:xfrm>
              <a:off x="5248275" y="2222500"/>
              <a:ext cx="42863" cy="88900"/>
            </a:xfrm>
            <a:custGeom>
              <a:avLst/>
              <a:gdLst>
                <a:gd name="T0" fmla="*/ 13 w 13"/>
                <a:gd name="T1" fmla="*/ 13 h 27"/>
                <a:gd name="T2" fmla="*/ 4 w 13"/>
                <a:gd name="T3" fmla="*/ 7 h 27"/>
                <a:gd name="T4" fmla="*/ 8 w 13"/>
                <a:gd name="T5" fmla="*/ 27 h 27"/>
                <a:gd name="T6" fmla="*/ 13 w 13"/>
                <a:gd name="T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7">
                  <a:moveTo>
                    <a:pt x="13" y="13"/>
                  </a:moveTo>
                  <a:cubicBezTo>
                    <a:pt x="13" y="13"/>
                    <a:pt x="8" y="0"/>
                    <a:pt x="4" y="7"/>
                  </a:cubicBezTo>
                  <a:cubicBezTo>
                    <a:pt x="0" y="13"/>
                    <a:pt x="2" y="21"/>
                    <a:pt x="8" y="27"/>
                  </a:cubicBezTo>
                  <a:cubicBezTo>
                    <a:pt x="8" y="27"/>
                    <a:pt x="6" y="4"/>
                    <a:pt x="13" y="13"/>
                  </a:cubicBezTo>
                  <a:close/>
                </a:path>
              </a:pathLst>
            </a:custGeom>
            <a:solidFill>
              <a:srgbClr val="EEB8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8" name="íṥlíḑé">
              <a:extLst>
                <a:ext uri="{FF2B5EF4-FFF2-40B4-BE49-F238E27FC236}">
                  <a16:creationId xmlns:a16="http://schemas.microsoft.com/office/drawing/2014/main" id="{E723CBBC-7567-45D5-82AF-ECF8DC5C0D76}"/>
                </a:ext>
              </a:extLst>
            </p:cNvPr>
            <p:cNvSpPr/>
            <p:nvPr/>
          </p:nvSpPr>
          <p:spPr bwMode="auto">
            <a:xfrm>
              <a:off x="5564188" y="2325688"/>
              <a:ext cx="73025" cy="46038"/>
            </a:xfrm>
            <a:prstGeom prst="ellipse">
              <a:avLst/>
            </a:prstGeom>
            <a:solidFill>
              <a:srgbClr val="EEB8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9" name="íSlîďê">
              <a:extLst>
                <a:ext uri="{FF2B5EF4-FFF2-40B4-BE49-F238E27FC236}">
                  <a16:creationId xmlns:a16="http://schemas.microsoft.com/office/drawing/2014/main" id="{9A19586A-3BFF-465D-B2E9-F55641E5DF10}"/>
                </a:ext>
              </a:extLst>
            </p:cNvPr>
            <p:cNvSpPr/>
            <p:nvPr/>
          </p:nvSpPr>
          <p:spPr bwMode="auto">
            <a:xfrm>
              <a:off x="5746750" y="2219325"/>
              <a:ext cx="58738" cy="79375"/>
            </a:xfrm>
            <a:prstGeom prst="ellipse">
              <a:avLst/>
            </a:prstGeom>
            <a:solidFill>
              <a:srgbClr val="6C31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0" name="iṧḷiďê">
              <a:extLst>
                <a:ext uri="{FF2B5EF4-FFF2-40B4-BE49-F238E27FC236}">
                  <a16:creationId xmlns:a16="http://schemas.microsoft.com/office/drawing/2014/main" id="{B65BBC49-E427-40A6-B5AB-C48846BC85F4}"/>
                </a:ext>
              </a:extLst>
            </p:cNvPr>
            <p:cNvSpPr/>
            <p:nvPr/>
          </p:nvSpPr>
          <p:spPr bwMode="auto">
            <a:xfrm>
              <a:off x="5407025" y="2219325"/>
              <a:ext cx="55563" cy="79375"/>
            </a:xfrm>
            <a:prstGeom prst="ellipse">
              <a:avLst/>
            </a:prstGeom>
            <a:solidFill>
              <a:srgbClr val="6C31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1" name="íṣḻîḍe">
              <a:extLst>
                <a:ext uri="{FF2B5EF4-FFF2-40B4-BE49-F238E27FC236}">
                  <a16:creationId xmlns:a16="http://schemas.microsoft.com/office/drawing/2014/main" id="{C27F57C2-E163-4F99-B631-E410EBB3C339}"/>
                </a:ext>
              </a:extLst>
            </p:cNvPr>
            <p:cNvSpPr/>
            <p:nvPr/>
          </p:nvSpPr>
          <p:spPr bwMode="auto">
            <a:xfrm>
              <a:off x="5722938" y="2147888"/>
              <a:ext cx="106363" cy="28575"/>
            </a:xfrm>
            <a:custGeom>
              <a:avLst/>
              <a:gdLst>
                <a:gd name="T0" fmla="*/ 0 w 32"/>
                <a:gd name="T1" fmla="*/ 6 h 9"/>
                <a:gd name="T2" fmla="*/ 4 w 32"/>
                <a:gd name="T3" fmla="*/ 2 h 9"/>
                <a:gd name="T4" fmla="*/ 10 w 32"/>
                <a:gd name="T5" fmla="*/ 0 h 9"/>
                <a:gd name="T6" fmla="*/ 16 w 32"/>
                <a:gd name="T7" fmla="*/ 0 h 9"/>
                <a:gd name="T8" fmla="*/ 23 w 32"/>
                <a:gd name="T9" fmla="*/ 1 h 9"/>
                <a:gd name="T10" fmla="*/ 28 w 32"/>
                <a:gd name="T11" fmla="*/ 5 h 9"/>
                <a:gd name="T12" fmla="*/ 32 w 32"/>
                <a:gd name="T13" fmla="*/ 9 h 9"/>
                <a:gd name="T14" fmla="*/ 26 w 32"/>
                <a:gd name="T15" fmla="*/ 8 h 9"/>
                <a:gd name="T16" fmla="*/ 22 w 32"/>
                <a:gd name="T17" fmla="*/ 7 h 9"/>
                <a:gd name="T18" fmla="*/ 19 w 32"/>
                <a:gd name="T19" fmla="*/ 7 h 9"/>
                <a:gd name="T20" fmla="*/ 16 w 32"/>
                <a:gd name="T21" fmla="*/ 6 h 9"/>
                <a:gd name="T22" fmla="*/ 5 w 32"/>
                <a:gd name="T23" fmla="*/ 6 h 9"/>
                <a:gd name="T24" fmla="*/ 0 w 32"/>
                <a:gd name="T25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9">
                  <a:moveTo>
                    <a:pt x="0" y="6"/>
                  </a:moveTo>
                  <a:cubicBezTo>
                    <a:pt x="0" y="6"/>
                    <a:pt x="1" y="4"/>
                    <a:pt x="4" y="2"/>
                  </a:cubicBezTo>
                  <a:cubicBezTo>
                    <a:pt x="6" y="1"/>
                    <a:pt x="8" y="1"/>
                    <a:pt x="10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2"/>
                    <a:pt x="27" y="3"/>
                    <a:pt x="28" y="5"/>
                  </a:cubicBezTo>
                  <a:cubicBezTo>
                    <a:pt x="31" y="7"/>
                    <a:pt x="32" y="9"/>
                    <a:pt x="32" y="9"/>
                  </a:cubicBezTo>
                  <a:cubicBezTo>
                    <a:pt x="32" y="9"/>
                    <a:pt x="29" y="9"/>
                    <a:pt x="26" y="8"/>
                  </a:cubicBezTo>
                  <a:cubicBezTo>
                    <a:pt x="25" y="8"/>
                    <a:pt x="23" y="7"/>
                    <a:pt x="22" y="7"/>
                  </a:cubicBezTo>
                  <a:cubicBezTo>
                    <a:pt x="21" y="7"/>
                    <a:pt x="20" y="7"/>
                    <a:pt x="19" y="7"/>
                  </a:cubicBezTo>
                  <a:cubicBezTo>
                    <a:pt x="18" y="6"/>
                    <a:pt x="17" y="6"/>
                    <a:pt x="16" y="6"/>
                  </a:cubicBezTo>
                  <a:cubicBezTo>
                    <a:pt x="12" y="6"/>
                    <a:pt x="8" y="6"/>
                    <a:pt x="5" y="6"/>
                  </a:cubicBezTo>
                  <a:cubicBezTo>
                    <a:pt x="2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8435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2" name="íṥḷiḑe">
              <a:extLst>
                <a:ext uri="{FF2B5EF4-FFF2-40B4-BE49-F238E27FC236}">
                  <a16:creationId xmlns:a16="http://schemas.microsoft.com/office/drawing/2014/main" id="{780797F5-9D18-40C8-B4FA-3EDE189726E1}"/>
                </a:ext>
              </a:extLst>
            </p:cNvPr>
            <p:cNvSpPr/>
            <p:nvPr/>
          </p:nvSpPr>
          <p:spPr bwMode="auto">
            <a:xfrm>
              <a:off x="5373688" y="2147888"/>
              <a:ext cx="104775" cy="28575"/>
            </a:xfrm>
            <a:custGeom>
              <a:avLst/>
              <a:gdLst>
                <a:gd name="T0" fmla="*/ 32 w 32"/>
                <a:gd name="T1" fmla="*/ 6 h 9"/>
                <a:gd name="T2" fmla="*/ 27 w 32"/>
                <a:gd name="T3" fmla="*/ 2 h 9"/>
                <a:gd name="T4" fmla="*/ 21 w 32"/>
                <a:gd name="T5" fmla="*/ 0 h 9"/>
                <a:gd name="T6" fmla="*/ 15 w 32"/>
                <a:gd name="T7" fmla="*/ 0 h 9"/>
                <a:gd name="T8" fmla="*/ 8 w 32"/>
                <a:gd name="T9" fmla="*/ 1 h 9"/>
                <a:gd name="T10" fmla="*/ 3 w 32"/>
                <a:gd name="T11" fmla="*/ 5 h 9"/>
                <a:gd name="T12" fmla="*/ 0 w 32"/>
                <a:gd name="T13" fmla="*/ 9 h 9"/>
                <a:gd name="T14" fmla="*/ 5 w 32"/>
                <a:gd name="T15" fmla="*/ 8 h 9"/>
                <a:gd name="T16" fmla="*/ 10 w 32"/>
                <a:gd name="T17" fmla="*/ 7 h 9"/>
                <a:gd name="T18" fmla="*/ 12 w 32"/>
                <a:gd name="T19" fmla="*/ 7 h 9"/>
                <a:gd name="T20" fmla="*/ 15 w 32"/>
                <a:gd name="T21" fmla="*/ 6 h 9"/>
                <a:gd name="T22" fmla="*/ 26 w 32"/>
                <a:gd name="T23" fmla="*/ 6 h 9"/>
                <a:gd name="T24" fmla="*/ 32 w 32"/>
                <a:gd name="T25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9">
                  <a:moveTo>
                    <a:pt x="32" y="6"/>
                  </a:moveTo>
                  <a:cubicBezTo>
                    <a:pt x="32" y="6"/>
                    <a:pt x="30" y="4"/>
                    <a:pt x="27" y="2"/>
                  </a:cubicBezTo>
                  <a:cubicBezTo>
                    <a:pt x="25" y="1"/>
                    <a:pt x="24" y="1"/>
                    <a:pt x="21" y="0"/>
                  </a:cubicBezTo>
                  <a:cubicBezTo>
                    <a:pt x="19" y="0"/>
                    <a:pt x="17" y="0"/>
                    <a:pt x="15" y="0"/>
                  </a:cubicBezTo>
                  <a:cubicBezTo>
                    <a:pt x="12" y="0"/>
                    <a:pt x="10" y="0"/>
                    <a:pt x="8" y="1"/>
                  </a:cubicBezTo>
                  <a:cubicBezTo>
                    <a:pt x="6" y="2"/>
                    <a:pt x="4" y="3"/>
                    <a:pt x="3" y="5"/>
                  </a:cubicBezTo>
                  <a:cubicBezTo>
                    <a:pt x="0" y="7"/>
                    <a:pt x="0" y="9"/>
                    <a:pt x="0" y="9"/>
                  </a:cubicBezTo>
                  <a:cubicBezTo>
                    <a:pt x="0" y="9"/>
                    <a:pt x="2" y="9"/>
                    <a:pt x="5" y="8"/>
                  </a:cubicBezTo>
                  <a:cubicBezTo>
                    <a:pt x="6" y="8"/>
                    <a:pt x="8" y="7"/>
                    <a:pt x="10" y="7"/>
                  </a:cubicBezTo>
                  <a:cubicBezTo>
                    <a:pt x="11" y="7"/>
                    <a:pt x="11" y="7"/>
                    <a:pt x="12" y="7"/>
                  </a:cubicBezTo>
                  <a:cubicBezTo>
                    <a:pt x="13" y="6"/>
                    <a:pt x="14" y="6"/>
                    <a:pt x="15" y="6"/>
                  </a:cubicBezTo>
                  <a:cubicBezTo>
                    <a:pt x="19" y="6"/>
                    <a:pt x="23" y="6"/>
                    <a:pt x="26" y="6"/>
                  </a:cubicBezTo>
                  <a:cubicBezTo>
                    <a:pt x="29" y="6"/>
                    <a:pt x="32" y="6"/>
                    <a:pt x="32" y="6"/>
                  </a:cubicBezTo>
                  <a:close/>
                </a:path>
              </a:pathLst>
            </a:custGeom>
            <a:solidFill>
              <a:srgbClr val="8435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3" name="ïṧḷîdé">
              <a:extLst>
                <a:ext uri="{FF2B5EF4-FFF2-40B4-BE49-F238E27FC236}">
                  <a16:creationId xmlns:a16="http://schemas.microsoft.com/office/drawing/2014/main" id="{FA1C123B-75E6-4D17-A12D-16905336648C}"/>
                </a:ext>
              </a:extLst>
            </p:cNvPr>
            <p:cNvSpPr/>
            <p:nvPr/>
          </p:nvSpPr>
          <p:spPr bwMode="auto">
            <a:xfrm>
              <a:off x="5551488" y="2433638"/>
              <a:ext cx="95250" cy="17463"/>
            </a:xfrm>
            <a:custGeom>
              <a:avLst/>
              <a:gdLst>
                <a:gd name="T0" fmla="*/ 4 w 29"/>
                <a:gd name="T1" fmla="*/ 5 h 5"/>
                <a:gd name="T2" fmla="*/ 26 w 29"/>
                <a:gd name="T3" fmla="*/ 5 h 5"/>
                <a:gd name="T4" fmla="*/ 26 w 29"/>
                <a:gd name="T5" fmla="*/ 0 h 5"/>
                <a:gd name="T6" fmla="*/ 4 w 29"/>
                <a:gd name="T7" fmla="*/ 0 h 5"/>
                <a:gd name="T8" fmla="*/ 4 w 29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5">
                  <a:moveTo>
                    <a:pt x="4" y="5"/>
                  </a:moveTo>
                  <a:cubicBezTo>
                    <a:pt x="11" y="5"/>
                    <a:pt x="19" y="5"/>
                    <a:pt x="26" y="5"/>
                  </a:cubicBezTo>
                  <a:cubicBezTo>
                    <a:pt x="29" y="5"/>
                    <a:pt x="29" y="0"/>
                    <a:pt x="26" y="0"/>
                  </a:cubicBezTo>
                  <a:cubicBezTo>
                    <a:pt x="19" y="0"/>
                    <a:pt x="11" y="0"/>
                    <a:pt x="4" y="0"/>
                  </a:cubicBezTo>
                  <a:cubicBezTo>
                    <a:pt x="0" y="0"/>
                    <a:pt x="0" y="5"/>
                    <a:pt x="4" y="5"/>
                  </a:cubicBezTo>
                  <a:close/>
                </a:path>
              </a:pathLst>
            </a:custGeom>
            <a:solidFill>
              <a:srgbClr val="EEB8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4" name="iṩľíḋè">
              <a:extLst>
                <a:ext uri="{FF2B5EF4-FFF2-40B4-BE49-F238E27FC236}">
                  <a16:creationId xmlns:a16="http://schemas.microsoft.com/office/drawing/2014/main" id="{25424609-9CDF-4A47-A416-73DD7797F928}"/>
                </a:ext>
              </a:extLst>
            </p:cNvPr>
            <p:cNvSpPr/>
            <p:nvPr/>
          </p:nvSpPr>
          <p:spPr bwMode="auto">
            <a:xfrm>
              <a:off x="5997575" y="2825750"/>
              <a:ext cx="939800" cy="530225"/>
            </a:xfrm>
            <a:custGeom>
              <a:avLst/>
              <a:gdLst>
                <a:gd name="T0" fmla="*/ 6 w 285"/>
                <a:gd name="T1" fmla="*/ 38 h 161"/>
                <a:gd name="T2" fmla="*/ 51 w 285"/>
                <a:gd name="T3" fmla="*/ 105 h 161"/>
                <a:gd name="T4" fmla="*/ 258 w 285"/>
                <a:gd name="T5" fmla="*/ 156 h 161"/>
                <a:gd name="T6" fmla="*/ 258 w 285"/>
                <a:gd name="T7" fmla="*/ 114 h 161"/>
                <a:gd name="T8" fmla="*/ 81 w 285"/>
                <a:gd name="T9" fmla="*/ 75 h 161"/>
                <a:gd name="T10" fmla="*/ 52 w 285"/>
                <a:gd name="T11" fmla="*/ 41 h 161"/>
                <a:gd name="T12" fmla="*/ 49 w 285"/>
                <a:gd name="T13" fmla="*/ 34 h 161"/>
                <a:gd name="T14" fmla="*/ 49 w 285"/>
                <a:gd name="T15" fmla="*/ 35 h 161"/>
                <a:gd name="T16" fmla="*/ 48 w 285"/>
                <a:gd name="T17" fmla="*/ 32 h 161"/>
                <a:gd name="T18" fmla="*/ 47 w 285"/>
                <a:gd name="T19" fmla="*/ 27 h 161"/>
                <a:gd name="T20" fmla="*/ 6 w 285"/>
                <a:gd name="T21" fmla="*/ 38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5" h="161">
                  <a:moveTo>
                    <a:pt x="6" y="38"/>
                  </a:moveTo>
                  <a:cubicBezTo>
                    <a:pt x="12" y="64"/>
                    <a:pt x="31" y="88"/>
                    <a:pt x="51" y="105"/>
                  </a:cubicBezTo>
                  <a:cubicBezTo>
                    <a:pt x="107" y="153"/>
                    <a:pt x="187" y="161"/>
                    <a:pt x="258" y="156"/>
                  </a:cubicBezTo>
                  <a:cubicBezTo>
                    <a:pt x="285" y="154"/>
                    <a:pt x="285" y="112"/>
                    <a:pt x="258" y="114"/>
                  </a:cubicBezTo>
                  <a:cubicBezTo>
                    <a:pt x="199" y="119"/>
                    <a:pt x="128" y="115"/>
                    <a:pt x="81" y="75"/>
                  </a:cubicBezTo>
                  <a:cubicBezTo>
                    <a:pt x="67" y="63"/>
                    <a:pt x="60" y="55"/>
                    <a:pt x="52" y="41"/>
                  </a:cubicBezTo>
                  <a:cubicBezTo>
                    <a:pt x="51" y="38"/>
                    <a:pt x="50" y="36"/>
                    <a:pt x="49" y="34"/>
                  </a:cubicBezTo>
                  <a:cubicBezTo>
                    <a:pt x="47" y="30"/>
                    <a:pt x="51" y="39"/>
                    <a:pt x="49" y="35"/>
                  </a:cubicBezTo>
                  <a:cubicBezTo>
                    <a:pt x="49" y="34"/>
                    <a:pt x="48" y="33"/>
                    <a:pt x="48" y="32"/>
                  </a:cubicBezTo>
                  <a:cubicBezTo>
                    <a:pt x="48" y="30"/>
                    <a:pt x="47" y="28"/>
                    <a:pt x="47" y="27"/>
                  </a:cubicBezTo>
                  <a:cubicBezTo>
                    <a:pt x="40" y="0"/>
                    <a:pt x="0" y="12"/>
                    <a:pt x="6" y="38"/>
                  </a:cubicBezTo>
                  <a:close/>
                </a:path>
              </a:pathLst>
            </a:custGeom>
            <a:solidFill>
              <a:srgbClr val="FECE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5" name="ísḻidé">
              <a:extLst>
                <a:ext uri="{FF2B5EF4-FFF2-40B4-BE49-F238E27FC236}">
                  <a16:creationId xmlns:a16="http://schemas.microsoft.com/office/drawing/2014/main" id="{8B53D402-4868-492A-81F4-A9C4581E84EB}"/>
                </a:ext>
              </a:extLst>
            </p:cNvPr>
            <p:cNvSpPr/>
            <p:nvPr/>
          </p:nvSpPr>
          <p:spPr bwMode="auto">
            <a:xfrm>
              <a:off x="5186363" y="2654300"/>
              <a:ext cx="830263" cy="1074738"/>
            </a:xfrm>
            <a:custGeom>
              <a:avLst/>
              <a:gdLst>
                <a:gd name="T0" fmla="*/ 173 w 252"/>
                <a:gd name="T1" fmla="*/ 0 h 326"/>
                <a:gd name="T2" fmla="*/ 126 w 252"/>
                <a:gd name="T3" fmla="*/ 32 h 326"/>
                <a:gd name="T4" fmla="*/ 126 w 252"/>
                <a:gd name="T5" fmla="*/ 32 h 326"/>
                <a:gd name="T6" fmla="*/ 126 w 252"/>
                <a:gd name="T7" fmla="*/ 32 h 326"/>
                <a:gd name="T8" fmla="*/ 126 w 252"/>
                <a:gd name="T9" fmla="*/ 32 h 326"/>
                <a:gd name="T10" fmla="*/ 126 w 252"/>
                <a:gd name="T11" fmla="*/ 32 h 326"/>
                <a:gd name="T12" fmla="*/ 125 w 252"/>
                <a:gd name="T13" fmla="*/ 32 h 326"/>
                <a:gd name="T14" fmla="*/ 125 w 252"/>
                <a:gd name="T15" fmla="*/ 32 h 326"/>
                <a:gd name="T16" fmla="*/ 79 w 252"/>
                <a:gd name="T17" fmla="*/ 0 h 326"/>
                <a:gd name="T18" fmla="*/ 0 w 252"/>
                <a:gd name="T19" fmla="*/ 16 h 326"/>
                <a:gd name="T20" fmla="*/ 6 w 252"/>
                <a:gd name="T21" fmla="*/ 326 h 326"/>
                <a:gd name="T22" fmla="*/ 245 w 252"/>
                <a:gd name="T23" fmla="*/ 326 h 326"/>
                <a:gd name="T24" fmla="*/ 252 w 252"/>
                <a:gd name="T25" fmla="*/ 16 h 326"/>
                <a:gd name="T26" fmla="*/ 173 w 252"/>
                <a:gd name="T27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2" h="326">
                  <a:moveTo>
                    <a:pt x="173" y="0"/>
                  </a:moveTo>
                  <a:cubicBezTo>
                    <a:pt x="166" y="31"/>
                    <a:pt x="129" y="32"/>
                    <a:pt x="126" y="32"/>
                  </a:cubicBezTo>
                  <a:cubicBezTo>
                    <a:pt x="126" y="32"/>
                    <a:pt x="126" y="32"/>
                    <a:pt x="126" y="32"/>
                  </a:cubicBezTo>
                  <a:cubicBezTo>
                    <a:pt x="126" y="32"/>
                    <a:pt x="126" y="32"/>
                    <a:pt x="126" y="32"/>
                  </a:cubicBezTo>
                  <a:cubicBezTo>
                    <a:pt x="126" y="32"/>
                    <a:pt x="126" y="32"/>
                    <a:pt x="126" y="32"/>
                  </a:cubicBezTo>
                  <a:cubicBezTo>
                    <a:pt x="126" y="32"/>
                    <a:pt x="126" y="32"/>
                    <a:pt x="126" y="32"/>
                  </a:cubicBezTo>
                  <a:cubicBezTo>
                    <a:pt x="126" y="32"/>
                    <a:pt x="125" y="32"/>
                    <a:pt x="125" y="32"/>
                  </a:cubicBezTo>
                  <a:cubicBezTo>
                    <a:pt x="125" y="32"/>
                    <a:pt x="125" y="32"/>
                    <a:pt x="125" y="32"/>
                  </a:cubicBezTo>
                  <a:cubicBezTo>
                    <a:pt x="122" y="32"/>
                    <a:pt x="87" y="31"/>
                    <a:pt x="79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6" y="326"/>
                    <a:pt x="6" y="326"/>
                    <a:pt x="6" y="326"/>
                  </a:cubicBezTo>
                  <a:cubicBezTo>
                    <a:pt x="245" y="326"/>
                    <a:pt x="245" y="326"/>
                    <a:pt x="245" y="326"/>
                  </a:cubicBezTo>
                  <a:cubicBezTo>
                    <a:pt x="252" y="16"/>
                    <a:pt x="252" y="16"/>
                    <a:pt x="252" y="16"/>
                  </a:cubicBezTo>
                  <a:lnTo>
                    <a:pt x="173" y="0"/>
                  </a:lnTo>
                  <a:close/>
                </a:path>
              </a:pathLst>
            </a:custGeom>
            <a:solidFill>
              <a:srgbClr val="7FA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6" name="ï$ľidê">
              <a:extLst>
                <a:ext uri="{FF2B5EF4-FFF2-40B4-BE49-F238E27FC236}">
                  <a16:creationId xmlns:a16="http://schemas.microsoft.com/office/drawing/2014/main" id="{21828655-1ADD-4EE3-9B12-1A4751BAE99D}"/>
                </a:ext>
              </a:extLst>
            </p:cNvPr>
            <p:cNvSpPr/>
            <p:nvPr/>
          </p:nvSpPr>
          <p:spPr bwMode="auto">
            <a:xfrm>
              <a:off x="4987925" y="5448300"/>
              <a:ext cx="404813" cy="155575"/>
            </a:xfrm>
            <a:custGeom>
              <a:avLst/>
              <a:gdLst>
                <a:gd name="T0" fmla="*/ 115 w 123"/>
                <a:gd name="T1" fmla="*/ 0 h 47"/>
                <a:gd name="T2" fmla="*/ 59 w 123"/>
                <a:gd name="T3" fmla="*/ 0 h 47"/>
                <a:gd name="T4" fmla="*/ 0 w 123"/>
                <a:gd name="T5" fmla="*/ 42 h 47"/>
                <a:gd name="T6" fmla="*/ 0 w 123"/>
                <a:gd name="T7" fmla="*/ 47 h 47"/>
                <a:gd name="T8" fmla="*/ 119 w 123"/>
                <a:gd name="T9" fmla="*/ 47 h 47"/>
                <a:gd name="T10" fmla="*/ 115 w 123"/>
                <a:gd name="T11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47">
                  <a:moveTo>
                    <a:pt x="115" y="0"/>
                  </a:moveTo>
                  <a:cubicBezTo>
                    <a:pt x="59" y="0"/>
                    <a:pt x="59" y="0"/>
                    <a:pt x="59" y="0"/>
                  </a:cubicBezTo>
                  <a:cubicBezTo>
                    <a:pt x="59" y="0"/>
                    <a:pt x="6" y="30"/>
                    <a:pt x="0" y="42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19" y="47"/>
                    <a:pt x="119" y="47"/>
                    <a:pt x="119" y="47"/>
                  </a:cubicBezTo>
                  <a:cubicBezTo>
                    <a:pt x="119" y="47"/>
                    <a:pt x="123" y="12"/>
                    <a:pt x="115" y="0"/>
                  </a:cubicBezTo>
                  <a:close/>
                </a:path>
              </a:pathLst>
            </a:custGeom>
            <a:solidFill>
              <a:srgbClr val="7FA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7" name="íṥliḋe">
              <a:extLst>
                <a:ext uri="{FF2B5EF4-FFF2-40B4-BE49-F238E27FC236}">
                  <a16:creationId xmlns:a16="http://schemas.microsoft.com/office/drawing/2014/main" id="{B71D544B-307D-4C89-ACD7-7CE4B34EACC7}"/>
                </a:ext>
              </a:extLst>
            </p:cNvPr>
            <p:cNvSpPr/>
            <p:nvPr/>
          </p:nvSpPr>
          <p:spPr bwMode="auto">
            <a:xfrm>
              <a:off x="4987925" y="5603875"/>
              <a:ext cx="392113" cy="25400"/>
            </a:xfrm>
            <a:prstGeom prst="rect">
              <a:avLst/>
            </a:prstGeom>
            <a:solidFill>
              <a:srgbClr val="3765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8" name="ïṡļiḓe">
              <a:extLst>
                <a:ext uri="{FF2B5EF4-FFF2-40B4-BE49-F238E27FC236}">
                  <a16:creationId xmlns:a16="http://schemas.microsoft.com/office/drawing/2014/main" id="{D78326A5-1E82-4AB6-92AB-84785E467880}"/>
                </a:ext>
              </a:extLst>
            </p:cNvPr>
            <p:cNvSpPr/>
            <p:nvPr/>
          </p:nvSpPr>
          <p:spPr bwMode="auto">
            <a:xfrm>
              <a:off x="5795963" y="5448300"/>
              <a:ext cx="404813" cy="155575"/>
            </a:xfrm>
            <a:custGeom>
              <a:avLst/>
              <a:gdLst>
                <a:gd name="T0" fmla="*/ 8 w 123"/>
                <a:gd name="T1" fmla="*/ 0 h 47"/>
                <a:gd name="T2" fmla="*/ 64 w 123"/>
                <a:gd name="T3" fmla="*/ 0 h 47"/>
                <a:gd name="T4" fmla="*/ 123 w 123"/>
                <a:gd name="T5" fmla="*/ 42 h 47"/>
                <a:gd name="T6" fmla="*/ 123 w 123"/>
                <a:gd name="T7" fmla="*/ 47 h 47"/>
                <a:gd name="T8" fmla="*/ 4 w 123"/>
                <a:gd name="T9" fmla="*/ 47 h 47"/>
                <a:gd name="T10" fmla="*/ 8 w 123"/>
                <a:gd name="T11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47">
                  <a:moveTo>
                    <a:pt x="8" y="0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64" y="0"/>
                    <a:pt x="117" y="30"/>
                    <a:pt x="123" y="42"/>
                  </a:cubicBezTo>
                  <a:cubicBezTo>
                    <a:pt x="123" y="47"/>
                    <a:pt x="123" y="47"/>
                    <a:pt x="123" y="47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47"/>
                    <a:pt x="0" y="12"/>
                    <a:pt x="8" y="0"/>
                  </a:cubicBezTo>
                  <a:close/>
                </a:path>
              </a:pathLst>
            </a:custGeom>
            <a:solidFill>
              <a:srgbClr val="7FA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9" name="iṥļiďè">
              <a:extLst>
                <a:ext uri="{FF2B5EF4-FFF2-40B4-BE49-F238E27FC236}">
                  <a16:creationId xmlns:a16="http://schemas.microsoft.com/office/drawing/2014/main" id="{883CB784-F22B-4D4C-ADBB-12F8B43CAC9D}"/>
                </a:ext>
              </a:extLst>
            </p:cNvPr>
            <p:cNvSpPr/>
            <p:nvPr/>
          </p:nvSpPr>
          <p:spPr bwMode="auto">
            <a:xfrm>
              <a:off x="5808663" y="5603875"/>
              <a:ext cx="392113" cy="25400"/>
            </a:xfrm>
            <a:prstGeom prst="rect">
              <a:avLst/>
            </a:prstGeom>
            <a:solidFill>
              <a:srgbClr val="3765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0" name="íšľîḍe">
              <a:extLst>
                <a:ext uri="{FF2B5EF4-FFF2-40B4-BE49-F238E27FC236}">
                  <a16:creationId xmlns:a16="http://schemas.microsoft.com/office/drawing/2014/main" id="{4A9F80CD-4DCF-4D43-9285-28FCAAB3F846}"/>
                </a:ext>
              </a:extLst>
            </p:cNvPr>
            <p:cNvSpPr/>
            <p:nvPr/>
          </p:nvSpPr>
          <p:spPr bwMode="auto">
            <a:xfrm>
              <a:off x="5153025" y="3729038"/>
              <a:ext cx="887413" cy="1733550"/>
            </a:xfrm>
            <a:custGeom>
              <a:avLst/>
              <a:gdLst>
                <a:gd name="T0" fmla="*/ 255 w 269"/>
                <a:gd name="T1" fmla="*/ 0 h 526"/>
                <a:gd name="T2" fmla="*/ 136 w 269"/>
                <a:gd name="T3" fmla="*/ 0 h 526"/>
                <a:gd name="T4" fmla="*/ 133 w 269"/>
                <a:gd name="T5" fmla="*/ 0 h 526"/>
                <a:gd name="T6" fmla="*/ 15 w 269"/>
                <a:gd name="T7" fmla="*/ 0 h 526"/>
                <a:gd name="T8" fmla="*/ 0 w 269"/>
                <a:gd name="T9" fmla="*/ 526 h 526"/>
                <a:gd name="T10" fmla="*/ 72 w 269"/>
                <a:gd name="T11" fmla="*/ 526 h 526"/>
                <a:gd name="T12" fmla="*/ 134 w 269"/>
                <a:gd name="T13" fmla="*/ 79 h 526"/>
                <a:gd name="T14" fmla="*/ 197 w 269"/>
                <a:gd name="T15" fmla="*/ 526 h 526"/>
                <a:gd name="T16" fmla="*/ 269 w 269"/>
                <a:gd name="T17" fmla="*/ 526 h 526"/>
                <a:gd name="T18" fmla="*/ 255 w 269"/>
                <a:gd name="T19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9" h="526">
                  <a:moveTo>
                    <a:pt x="255" y="0"/>
                  </a:moveTo>
                  <a:cubicBezTo>
                    <a:pt x="136" y="0"/>
                    <a:pt x="136" y="0"/>
                    <a:pt x="136" y="0"/>
                  </a:cubicBezTo>
                  <a:cubicBezTo>
                    <a:pt x="133" y="0"/>
                    <a:pt x="133" y="0"/>
                    <a:pt x="13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526"/>
                    <a:pt x="0" y="526"/>
                    <a:pt x="0" y="526"/>
                  </a:cubicBezTo>
                  <a:cubicBezTo>
                    <a:pt x="72" y="526"/>
                    <a:pt x="72" y="526"/>
                    <a:pt x="72" y="526"/>
                  </a:cubicBezTo>
                  <a:cubicBezTo>
                    <a:pt x="72" y="526"/>
                    <a:pt x="92" y="89"/>
                    <a:pt x="134" y="79"/>
                  </a:cubicBezTo>
                  <a:cubicBezTo>
                    <a:pt x="176" y="89"/>
                    <a:pt x="197" y="526"/>
                    <a:pt x="197" y="526"/>
                  </a:cubicBezTo>
                  <a:cubicBezTo>
                    <a:pt x="269" y="526"/>
                    <a:pt x="269" y="526"/>
                    <a:pt x="269" y="526"/>
                  </a:cubicBezTo>
                  <a:lnTo>
                    <a:pt x="255" y="0"/>
                  </a:lnTo>
                  <a:close/>
                </a:path>
              </a:pathLst>
            </a:custGeom>
            <a:solidFill>
              <a:srgbClr val="2426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1" name="iśľiḋè">
              <a:extLst>
                <a:ext uri="{FF2B5EF4-FFF2-40B4-BE49-F238E27FC236}">
                  <a16:creationId xmlns:a16="http://schemas.microsoft.com/office/drawing/2014/main" id="{1E4C82DA-56FA-4C89-9AA6-0D51C56E3A48}"/>
                </a:ext>
              </a:extLst>
            </p:cNvPr>
            <p:cNvSpPr/>
            <p:nvPr/>
          </p:nvSpPr>
          <p:spPr bwMode="auto">
            <a:xfrm>
              <a:off x="5994400" y="2706688"/>
              <a:ext cx="711200" cy="709613"/>
            </a:xfrm>
            <a:custGeom>
              <a:avLst/>
              <a:gdLst>
                <a:gd name="T0" fmla="*/ 7 w 216"/>
                <a:gd name="T1" fmla="*/ 0 h 215"/>
                <a:gd name="T2" fmla="*/ 68 w 216"/>
                <a:gd name="T3" fmla="*/ 55 h 215"/>
                <a:gd name="T4" fmla="*/ 216 w 216"/>
                <a:gd name="T5" fmla="*/ 134 h 215"/>
                <a:gd name="T6" fmla="*/ 204 w 216"/>
                <a:gd name="T7" fmla="*/ 211 h 215"/>
                <a:gd name="T8" fmla="*/ 210 w 216"/>
                <a:gd name="T9" fmla="*/ 207 h 215"/>
                <a:gd name="T10" fmla="*/ 0 w 216"/>
                <a:gd name="T11" fmla="*/ 94 h 215"/>
                <a:gd name="T12" fmla="*/ 7 w 216"/>
                <a:gd name="T13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15">
                  <a:moveTo>
                    <a:pt x="7" y="0"/>
                  </a:moveTo>
                  <a:cubicBezTo>
                    <a:pt x="7" y="0"/>
                    <a:pt x="46" y="16"/>
                    <a:pt x="68" y="55"/>
                  </a:cubicBezTo>
                  <a:cubicBezTo>
                    <a:pt x="90" y="93"/>
                    <a:pt x="161" y="138"/>
                    <a:pt x="216" y="134"/>
                  </a:cubicBezTo>
                  <a:cubicBezTo>
                    <a:pt x="216" y="134"/>
                    <a:pt x="210" y="207"/>
                    <a:pt x="204" y="211"/>
                  </a:cubicBezTo>
                  <a:cubicBezTo>
                    <a:pt x="199" y="215"/>
                    <a:pt x="210" y="207"/>
                    <a:pt x="210" y="207"/>
                  </a:cubicBezTo>
                  <a:cubicBezTo>
                    <a:pt x="210" y="207"/>
                    <a:pt x="61" y="203"/>
                    <a:pt x="0" y="94"/>
                  </a:cubicBezTo>
                  <a:lnTo>
                    <a:pt x="7" y="0"/>
                  </a:lnTo>
                  <a:close/>
                </a:path>
              </a:pathLst>
            </a:custGeom>
            <a:solidFill>
              <a:srgbClr val="7FA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2" name="îṧḷïḋé">
              <a:extLst>
                <a:ext uri="{FF2B5EF4-FFF2-40B4-BE49-F238E27FC236}">
                  <a16:creationId xmlns:a16="http://schemas.microsoft.com/office/drawing/2014/main" id="{756F2ECB-7B91-45BF-AE6D-031F2C4F6AAE}"/>
                </a:ext>
              </a:extLst>
            </p:cNvPr>
            <p:cNvSpPr/>
            <p:nvPr/>
          </p:nvSpPr>
          <p:spPr bwMode="auto">
            <a:xfrm>
              <a:off x="6102350" y="984250"/>
              <a:ext cx="1319213" cy="2270125"/>
            </a:xfrm>
            <a:custGeom>
              <a:avLst/>
              <a:gdLst>
                <a:gd name="T0" fmla="*/ 241 w 400"/>
                <a:gd name="T1" fmla="*/ 407 h 689"/>
                <a:gd name="T2" fmla="*/ 241 w 400"/>
                <a:gd name="T3" fmla="*/ 472 h 689"/>
                <a:gd name="T4" fmla="*/ 192 w 400"/>
                <a:gd name="T5" fmla="*/ 520 h 689"/>
                <a:gd name="T6" fmla="*/ 144 w 400"/>
                <a:gd name="T7" fmla="*/ 472 h 689"/>
                <a:gd name="T8" fmla="*/ 144 w 400"/>
                <a:gd name="T9" fmla="*/ 369 h 689"/>
                <a:gd name="T10" fmla="*/ 145 w 400"/>
                <a:gd name="T11" fmla="*/ 367 h 689"/>
                <a:gd name="T12" fmla="*/ 144 w 400"/>
                <a:gd name="T13" fmla="*/ 365 h 689"/>
                <a:gd name="T14" fmla="*/ 192 w 400"/>
                <a:gd name="T15" fmla="*/ 317 h 689"/>
                <a:gd name="T16" fmla="*/ 305 w 400"/>
                <a:gd name="T17" fmla="*/ 207 h 689"/>
                <a:gd name="T18" fmla="*/ 192 w 400"/>
                <a:gd name="T19" fmla="*/ 96 h 689"/>
                <a:gd name="T20" fmla="*/ 98 w 400"/>
                <a:gd name="T21" fmla="*/ 150 h 689"/>
                <a:gd name="T22" fmla="*/ 31 w 400"/>
                <a:gd name="T23" fmla="*/ 168 h 689"/>
                <a:gd name="T24" fmla="*/ 14 w 400"/>
                <a:gd name="T25" fmla="*/ 102 h 689"/>
                <a:gd name="T26" fmla="*/ 192 w 400"/>
                <a:gd name="T27" fmla="*/ 0 h 689"/>
                <a:gd name="T28" fmla="*/ 400 w 400"/>
                <a:gd name="T29" fmla="*/ 207 h 689"/>
                <a:gd name="T30" fmla="*/ 241 w 400"/>
                <a:gd name="T31" fmla="*/ 407 h 689"/>
                <a:gd name="T32" fmla="*/ 241 w 400"/>
                <a:gd name="T33" fmla="*/ 623 h 689"/>
                <a:gd name="T34" fmla="*/ 241 w 400"/>
                <a:gd name="T35" fmla="*/ 641 h 689"/>
                <a:gd name="T36" fmla="*/ 192 w 400"/>
                <a:gd name="T37" fmla="*/ 689 h 689"/>
                <a:gd name="T38" fmla="*/ 144 w 400"/>
                <a:gd name="T39" fmla="*/ 641 h 689"/>
                <a:gd name="T40" fmla="*/ 144 w 400"/>
                <a:gd name="T41" fmla="*/ 623 h 689"/>
                <a:gd name="T42" fmla="*/ 192 w 400"/>
                <a:gd name="T43" fmla="*/ 575 h 689"/>
                <a:gd name="T44" fmla="*/ 241 w 400"/>
                <a:gd name="T45" fmla="*/ 623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0" h="689">
                  <a:moveTo>
                    <a:pt x="241" y="407"/>
                  </a:moveTo>
                  <a:cubicBezTo>
                    <a:pt x="241" y="472"/>
                    <a:pt x="241" y="472"/>
                    <a:pt x="241" y="472"/>
                  </a:cubicBezTo>
                  <a:cubicBezTo>
                    <a:pt x="241" y="499"/>
                    <a:pt x="220" y="520"/>
                    <a:pt x="192" y="520"/>
                  </a:cubicBezTo>
                  <a:cubicBezTo>
                    <a:pt x="167" y="520"/>
                    <a:pt x="144" y="499"/>
                    <a:pt x="144" y="472"/>
                  </a:cubicBezTo>
                  <a:cubicBezTo>
                    <a:pt x="144" y="369"/>
                    <a:pt x="144" y="369"/>
                    <a:pt x="144" y="369"/>
                  </a:cubicBezTo>
                  <a:cubicBezTo>
                    <a:pt x="144" y="368"/>
                    <a:pt x="145" y="368"/>
                    <a:pt x="145" y="367"/>
                  </a:cubicBezTo>
                  <a:cubicBezTo>
                    <a:pt x="144" y="366"/>
                    <a:pt x="144" y="366"/>
                    <a:pt x="144" y="365"/>
                  </a:cubicBezTo>
                  <a:cubicBezTo>
                    <a:pt x="144" y="340"/>
                    <a:pt x="167" y="317"/>
                    <a:pt x="192" y="317"/>
                  </a:cubicBezTo>
                  <a:cubicBezTo>
                    <a:pt x="254" y="317"/>
                    <a:pt x="305" y="268"/>
                    <a:pt x="305" y="207"/>
                  </a:cubicBezTo>
                  <a:cubicBezTo>
                    <a:pt x="305" y="144"/>
                    <a:pt x="254" y="96"/>
                    <a:pt x="192" y="96"/>
                  </a:cubicBezTo>
                  <a:cubicBezTo>
                    <a:pt x="152" y="96"/>
                    <a:pt x="116" y="118"/>
                    <a:pt x="98" y="150"/>
                  </a:cubicBezTo>
                  <a:cubicBezTo>
                    <a:pt x="84" y="174"/>
                    <a:pt x="54" y="182"/>
                    <a:pt x="31" y="168"/>
                  </a:cubicBezTo>
                  <a:cubicBezTo>
                    <a:pt x="8" y="154"/>
                    <a:pt x="0" y="126"/>
                    <a:pt x="14" y="102"/>
                  </a:cubicBezTo>
                  <a:cubicBezTo>
                    <a:pt x="49" y="41"/>
                    <a:pt x="116" y="0"/>
                    <a:pt x="192" y="0"/>
                  </a:cubicBezTo>
                  <a:cubicBezTo>
                    <a:pt x="307" y="0"/>
                    <a:pt x="400" y="92"/>
                    <a:pt x="400" y="207"/>
                  </a:cubicBezTo>
                  <a:cubicBezTo>
                    <a:pt x="400" y="304"/>
                    <a:pt x="332" y="386"/>
                    <a:pt x="241" y="407"/>
                  </a:cubicBezTo>
                  <a:close/>
                  <a:moveTo>
                    <a:pt x="241" y="623"/>
                  </a:moveTo>
                  <a:cubicBezTo>
                    <a:pt x="241" y="641"/>
                    <a:pt x="241" y="641"/>
                    <a:pt x="241" y="641"/>
                  </a:cubicBezTo>
                  <a:cubicBezTo>
                    <a:pt x="241" y="669"/>
                    <a:pt x="220" y="689"/>
                    <a:pt x="192" y="689"/>
                  </a:cubicBezTo>
                  <a:cubicBezTo>
                    <a:pt x="167" y="689"/>
                    <a:pt x="144" y="669"/>
                    <a:pt x="144" y="641"/>
                  </a:cubicBezTo>
                  <a:cubicBezTo>
                    <a:pt x="144" y="623"/>
                    <a:pt x="144" y="623"/>
                    <a:pt x="144" y="623"/>
                  </a:cubicBezTo>
                  <a:cubicBezTo>
                    <a:pt x="144" y="597"/>
                    <a:pt x="167" y="575"/>
                    <a:pt x="192" y="575"/>
                  </a:cubicBezTo>
                  <a:cubicBezTo>
                    <a:pt x="220" y="575"/>
                    <a:pt x="241" y="597"/>
                    <a:pt x="241" y="623"/>
                  </a:cubicBezTo>
                  <a:close/>
                </a:path>
              </a:pathLst>
            </a:custGeom>
            <a:solidFill>
              <a:srgbClr val="F4B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3" name="íSlíḑê">
              <a:extLst>
                <a:ext uri="{FF2B5EF4-FFF2-40B4-BE49-F238E27FC236}">
                  <a16:creationId xmlns:a16="http://schemas.microsoft.com/office/drawing/2014/main" id="{A8FACC9A-5545-4F46-BA16-2691DAFC71D7}"/>
                </a:ext>
              </a:extLst>
            </p:cNvPr>
            <p:cNvSpPr/>
            <p:nvPr/>
          </p:nvSpPr>
          <p:spPr bwMode="auto">
            <a:xfrm>
              <a:off x="6016625" y="984250"/>
              <a:ext cx="1319213" cy="2270125"/>
            </a:xfrm>
            <a:custGeom>
              <a:avLst/>
              <a:gdLst>
                <a:gd name="T0" fmla="*/ 240 w 400"/>
                <a:gd name="T1" fmla="*/ 407 h 689"/>
                <a:gd name="T2" fmla="*/ 240 w 400"/>
                <a:gd name="T3" fmla="*/ 472 h 689"/>
                <a:gd name="T4" fmla="*/ 192 w 400"/>
                <a:gd name="T5" fmla="*/ 520 h 689"/>
                <a:gd name="T6" fmla="*/ 144 w 400"/>
                <a:gd name="T7" fmla="*/ 472 h 689"/>
                <a:gd name="T8" fmla="*/ 144 w 400"/>
                <a:gd name="T9" fmla="*/ 369 h 689"/>
                <a:gd name="T10" fmla="*/ 145 w 400"/>
                <a:gd name="T11" fmla="*/ 367 h 689"/>
                <a:gd name="T12" fmla="*/ 144 w 400"/>
                <a:gd name="T13" fmla="*/ 365 h 689"/>
                <a:gd name="T14" fmla="*/ 192 w 400"/>
                <a:gd name="T15" fmla="*/ 317 h 689"/>
                <a:gd name="T16" fmla="*/ 304 w 400"/>
                <a:gd name="T17" fmla="*/ 207 h 689"/>
                <a:gd name="T18" fmla="*/ 192 w 400"/>
                <a:gd name="T19" fmla="*/ 96 h 689"/>
                <a:gd name="T20" fmla="*/ 97 w 400"/>
                <a:gd name="T21" fmla="*/ 150 h 689"/>
                <a:gd name="T22" fmla="*/ 30 w 400"/>
                <a:gd name="T23" fmla="*/ 168 h 689"/>
                <a:gd name="T24" fmla="*/ 14 w 400"/>
                <a:gd name="T25" fmla="*/ 102 h 689"/>
                <a:gd name="T26" fmla="*/ 192 w 400"/>
                <a:gd name="T27" fmla="*/ 0 h 689"/>
                <a:gd name="T28" fmla="*/ 400 w 400"/>
                <a:gd name="T29" fmla="*/ 207 h 689"/>
                <a:gd name="T30" fmla="*/ 240 w 400"/>
                <a:gd name="T31" fmla="*/ 407 h 689"/>
                <a:gd name="T32" fmla="*/ 240 w 400"/>
                <a:gd name="T33" fmla="*/ 623 h 689"/>
                <a:gd name="T34" fmla="*/ 240 w 400"/>
                <a:gd name="T35" fmla="*/ 641 h 689"/>
                <a:gd name="T36" fmla="*/ 192 w 400"/>
                <a:gd name="T37" fmla="*/ 689 h 689"/>
                <a:gd name="T38" fmla="*/ 144 w 400"/>
                <a:gd name="T39" fmla="*/ 641 h 689"/>
                <a:gd name="T40" fmla="*/ 144 w 400"/>
                <a:gd name="T41" fmla="*/ 623 h 689"/>
                <a:gd name="T42" fmla="*/ 192 w 400"/>
                <a:gd name="T43" fmla="*/ 575 h 689"/>
                <a:gd name="T44" fmla="*/ 240 w 400"/>
                <a:gd name="T45" fmla="*/ 623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0" h="689">
                  <a:moveTo>
                    <a:pt x="240" y="407"/>
                  </a:moveTo>
                  <a:cubicBezTo>
                    <a:pt x="240" y="472"/>
                    <a:pt x="240" y="472"/>
                    <a:pt x="240" y="472"/>
                  </a:cubicBezTo>
                  <a:cubicBezTo>
                    <a:pt x="240" y="499"/>
                    <a:pt x="220" y="520"/>
                    <a:pt x="192" y="520"/>
                  </a:cubicBezTo>
                  <a:cubicBezTo>
                    <a:pt x="166" y="520"/>
                    <a:pt x="144" y="499"/>
                    <a:pt x="144" y="472"/>
                  </a:cubicBezTo>
                  <a:cubicBezTo>
                    <a:pt x="144" y="369"/>
                    <a:pt x="144" y="369"/>
                    <a:pt x="144" y="369"/>
                  </a:cubicBezTo>
                  <a:cubicBezTo>
                    <a:pt x="144" y="368"/>
                    <a:pt x="145" y="368"/>
                    <a:pt x="145" y="367"/>
                  </a:cubicBezTo>
                  <a:cubicBezTo>
                    <a:pt x="144" y="366"/>
                    <a:pt x="144" y="366"/>
                    <a:pt x="144" y="365"/>
                  </a:cubicBezTo>
                  <a:cubicBezTo>
                    <a:pt x="144" y="340"/>
                    <a:pt x="166" y="317"/>
                    <a:pt x="192" y="317"/>
                  </a:cubicBezTo>
                  <a:cubicBezTo>
                    <a:pt x="254" y="317"/>
                    <a:pt x="304" y="268"/>
                    <a:pt x="304" y="207"/>
                  </a:cubicBezTo>
                  <a:cubicBezTo>
                    <a:pt x="304" y="144"/>
                    <a:pt x="254" y="96"/>
                    <a:pt x="192" y="96"/>
                  </a:cubicBezTo>
                  <a:cubicBezTo>
                    <a:pt x="152" y="96"/>
                    <a:pt x="116" y="118"/>
                    <a:pt x="97" y="150"/>
                  </a:cubicBezTo>
                  <a:cubicBezTo>
                    <a:pt x="84" y="174"/>
                    <a:pt x="54" y="182"/>
                    <a:pt x="30" y="168"/>
                  </a:cubicBezTo>
                  <a:cubicBezTo>
                    <a:pt x="8" y="154"/>
                    <a:pt x="0" y="126"/>
                    <a:pt x="14" y="102"/>
                  </a:cubicBezTo>
                  <a:cubicBezTo>
                    <a:pt x="49" y="41"/>
                    <a:pt x="116" y="0"/>
                    <a:pt x="192" y="0"/>
                  </a:cubicBezTo>
                  <a:cubicBezTo>
                    <a:pt x="306" y="0"/>
                    <a:pt x="400" y="92"/>
                    <a:pt x="400" y="207"/>
                  </a:cubicBezTo>
                  <a:cubicBezTo>
                    <a:pt x="400" y="304"/>
                    <a:pt x="332" y="386"/>
                    <a:pt x="240" y="407"/>
                  </a:cubicBezTo>
                  <a:close/>
                  <a:moveTo>
                    <a:pt x="240" y="623"/>
                  </a:moveTo>
                  <a:cubicBezTo>
                    <a:pt x="240" y="641"/>
                    <a:pt x="240" y="641"/>
                    <a:pt x="240" y="641"/>
                  </a:cubicBezTo>
                  <a:cubicBezTo>
                    <a:pt x="240" y="669"/>
                    <a:pt x="220" y="689"/>
                    <a:pt x="192" y="689"/>
                  </a:cubicBezTo>
                  <a:cubicBezTo>
                    <a:pt x="166" y="689"/>
                    <a:pt x="144" y="669"/>
                    <a:pt x="144" y="641"/>
                  </a:cubicBezTo>
                  <a:cubicBezTo>
                    <a:pt x="144" y="623"/>
                    <a:pt x="144" y="623"/>
                    <a:pt x="144" y="623"/>
                  </a:cubicBezTo>
                  <a:cubicBezTo>
                    <a:pt x="144" y="597"/>
                    <a:pt x="166" y="575"/>
                    <a:pt x="192" y="575"/>
                  </a:cubicBezTo>
                  <a:cubicBezTo>
                    <a:pt x="220" y="575"/>
                    <a:pt x="240" y="597"/>
                    <a:pt x="240" y="623"/>
                  </a:cubicBezTo>
                  <a:close/>
                </a:path>
              </a:pathLst>
            </a:custGeom>
            <a:solidFill>
              <a:srgbClr val="FFD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4" name="ïsľïďé">
              <a:extLst>
                <a:ext uri="{FF2B5EF4-FFF2-40B4-BE49-F238E27FC236}">
                  <a16:creationId xmlns:a16="http://schemas.microsoft.com/office/drawing/2014/main" id="{BD6C6C9A-906D-433A-95D8-6C379DE82D73}"/>
                </a:ext>
              </a:extLst>
            </p:cNvPr>
            <p:cNvSpPr/>
            <p:nvPr/>
          </p:nvSpPr>
          <p:spPr bwMode="auto">
            <a:xfrm>
              <a:off x="5060950" y="2463800"/>
              <a:ext cx="636588" cy="903288"/>
            </a:xfrm>
            <a:custGeom>
              <a:avLst/>
              <a:gdLst>
                <a:gd name="T0" fmla="*/ 150 w 193"/>
                <a:gd name="T1" fmla="*/ 26 h 274"/>
                <a:gd name="T2" fmla="*/ 102 w 193"/>
                <a:gd name="T3" fmla="*/ 162 h 274"/>
                <a:gd name="T4" fmla="*/ 81 w 193"/>
                <a:gd name="T5" fmla="*/ 199 h 274"/>
                <a:gd name="T6" fmla="*/ 72 w 193"/>
                <a:gd name="T7" fmla="*/ 211 h 274"/>
                <a:gd name="T8" fmla="*/ 68 w 193"/>
                <a:gd name="T9" fmla="*/ 215 h 274"/>
                <a:gd name="T10" fmla="*/ 76 w 193"/>
                <a:gd name="T11" fmla="*/ 215 h 274"/>
                <a:gd name="T12" fmla="*/ 70 w 193"/>
                <a:gd name="T13" fmla="*/ 207 h 274"/>
                <a:gd name="T14" fmla="*/ 58 w 193"/>
                <a:gd name="T15" fmla="*/ 185 h 274"/>
                <a:gd name="T16" fmla="*/ 43 w 193"/>
                <a:gd name="T17" fmla="*/ 127 h 274"/>
                <a:gd name="T18" fmla="*/ 2 w 193"/>
                <a:gd name="T19" fmla="*/ 127 h 274"/>
                <a:gd name="T20" fmla="*/ 49 w 193"/>
                <a:gd name="T21" fmla="*/ 246 h 274"/>
                <a:gd name="T22" fmla="*/ 121 w 193"/>
                <a:gd name="T23" fmla="*/ 213 h 274"/>
                <a:gd name="T24" fmla="*/ 170 w 193"/>
                <a:gd name="T25" fmla="*/ 111 h 274"/>
                <a:gd name="T26" fmla="*/ 191 w 193"/>
                <a:gd name="T27" fmla="*/ 26 h 274"/>
                <a:gd name="T28" fmla="*/ 150 w 193"/>
                <a:gd name="T29" fmla="*/ 26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3" h="274">
                  <a:moveTo>
                    <a:pt x="150" y="26"/>
                  </a:moveTo>
                  <a:cubicBezTo>
                    <a:pt x="146" y="74"/>
                    <a:pt x="123" y="120"/>
                    <a:pt x="102" y="162"/>
                  </a:cubicBezTo>
                  <a:cubicBezTo>
                    <a:pt x="95" y="175"/>
                    <a:pt x="89" y="187"/>
                    <a:pt x="81" y="199"/>
                  </a:cubicBezTo>
                  <a:cubicBezTo>
                    <a:pt x="78" y="203"/>
                    <a:pt x="75" y="207"/>
                    <a:pt x="72" y="211"/>
                  </a:cubicBezTo>
                  <a:cubicBezTo>
                    <a:pt x="71" y="213"/>
                    <a:pt x="66" y="216"/>
                    <a:pt x="68" y="215"/>
                  </a:cubicBezTo>
                  <a:cubicBezTo>
                    <a:pt x="75" y="218"/>
                    <a:pt x="78" y="218"/>
                    <a:pt x="76" y="215"/>
                  </a:cubicBezTo>
                  <a:cubicBezTo>
                    <a:pt x="73" y="213"/>
                    <a:pt x="72" y="210"/>
                    <a:pt x="70" y="207"/>
                  </a:cubicBezTo>
                  <a:cubicBezTo>
                    <a:pt x="65" y="200"/>
                    <a:pt x="61" y="192"/>
                    <a:pt x="58" y="185"/>
                  </a:cubicBezTo>
                  <a:cubicBezTo>
                    <a:pt x="49" y="167"/>
                    <a:pt x="44" y="147"/>
                    <a:pt x="43" y="127"/>
                  </a:cubicBezTo>
                  <a:cubicBezTo>
                    <a:pt x="42" y="101"/>
                    <a:pt x="0" y="101"/>
                    <a:pt x="2" y="127"/>
                  </a:cubicBezTo>
                  <a:cubicBezTo>
                    <a:pt x="4" y="167"/>
                    <a:pt x="19" y="218"/>
                    <a:pt x="49" y="246"/>
                  </a:cubicBezTo>
                  <a:cubicBezTo>
                    <a:pt x="79" y="274"/>
                    <a:pt x="106" y="237"/>
                    <a:pt x="121" y="213"/>
                  </a:cubicBezTo>
                  <a:cubicBezTo>
                    <a:pt x="141" y="181"/>
                    <a:pt x="155" y="146"/>
                    <a:pt x="170" y="111"/>
                  </a:cubicBezTo>
                  <a:cubicBezTo>
                    <a:pt x="181" y="83"/>
                    <a:pt x="188" y="57"/>
                    <a:pt x="191" y="26"/>
                  </a:cubicBezTo>
                  <a:cubicBezTo>
                    <a:pt x="193" y="0"/>
                    <a:pt x="152" y="0"/>
                    <a:pt x="150" y="26"/>
                  </a:cubicBezTo>
                  <a:close/>
                </a:path>
              </a:pathLst>
            </a:custGeom>
            <a:solidFill>
              <a:srgbClr val="FFDB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5" name="ïšlïḓe">
              <a:extLst>
                <a:ext uri="{FF2B5EF4-FFF2-40B4-BE49-F238E27FC236}">
                  <a16:creationId xmlns:a16="http://schemas.microsoft.com/office/drawing/2014/main" id="{B4A5CBC1-765D-41CF-AAE4-9D7539C9DD77}"/>
                </a:ext>
              </a:extLst>
            </p:cNvPr>
            <p:cNvSpPr/>
            <p:nvPr/>
          </p:nvSpPr>
          <p:spPr bwMode="auto">
            <a:xfrm>
              <a:off x="5000625" y="2638425"/>
              <a:ext cx="688975" cy="735013"/>
            </a:xfrm>
            <a:custGeom>
              <a:avLst/>
              <a:gdLst>
                <a:gd name="T0" fmla="*/ 56 w 209"/>
                <a:gd name="T1" fmla="*/ 21 h 223"/>
                <a:gd name="T2" fmla="*/ 4 w 209"/>
                <a:gd name="T3" fmla="*/ 84 h 223"/>
                <a:gd name="T4" fmla="*/ 102 w 209"/>
                <a:gd name="T5" fmla="*/ 215 h 223"/>
                <a:gd name="T6" fmla="*/ 209 w 209"/>
                <a:gd name="T7" fmla="*/ 21 h 223"/>
                <a:gd name="T8" fmla="*/ 155 w 209"/>
                <a:gd name="T9" fmla="*/ 0 h 223"/>
                <a:gd name="T10" fmla="*/ 92 w 209"/>
                <a:gd name="T11" fmla="*/ 142 h 223"/>
                <a:gd name="T12" fmla="*/ 56 w 209"/>
                <a:gd name="T13" fmla="*/ 21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9" h="223">
                  <a:moveTo>
                    <a:pt x="56" y="21"/>
                  </a:moveTo>
                  <a:cubicBezTo>
                    <a:pt x="56" y="21"/>
                    <a:pt x="0" y="27"/>
                    <a:pt x="4" y="84"/>
                  </a:cubicBezTo>
                  <a:cubicBezTo>
                    <a:pt x="8" y="142"/>
                    <a:pt x="56" y="223"/>
                    <a:pt x="102" y="215"/>
                  </a:cubicBezTo>
                  <a:cubicBezTo>
                    <a:pt x="148" y="206"/>
                    <a:pt x="198" y="73"/>
                    <a:pt x="209" y="21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5" y="0"/>
                    <a:pt x="101" y="139"/>
                    <a:pt x="92" y="142"/>
                  </a:cubicBezTo>
                  <a:lnTo>
                    <a:pt x="56" y="21"/>
                  </a:lnTo>
                  <a:close/>
                </a:path>
              </a:pathLst>
            </a:custGeom>
            <a:solidFill>
              <a:srgbClr val="93C1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6" name="îṧ1iďê">
              <a:extLst>
                <a:ext uri="{FF2B5EF4-FFF2-40B4-BE49-F238E27FC236}">
                  <a16:creationId xmlns:a16="http://schemas.microsoft.com/office/drawing/2014/main" id="{2DB7C8E4-BFB8-4403-BE6E-A789C13044B9}"/>
                </a:ext>
              </a:extLst>
            </p:cNvPr>
            <p:cNvSpPr/>
            <p:nvPr/>
          </p:nvSpPr>
          <p:spPr bwMode="auto">
            <a:xfrm>
              <a:off x="5245100" y="1774825"/>
              <a:ext cx="706438" cy="514350"/>
            </a:xfrm>
            <a:custGeom>
              <a:avLst/>
              <a:gdLst>
                <a:gd name="T0" fmla="*/ 107 w 214"/>
                <a:gd name="T1" fmla="*/ 6 h 156"/>
                <a:gd name="T2" fmla="*/ 14 w 214"/>
                <a:gd name="T3" fmla="*/ 134 h 156"/>
                <a:gd name="T4" fmla="*/ 14 w 214"/>
                <a:gd name="T5" fmla="*/ 152 h 156"/>
                <a:gd name="T6" fmla="*/ 20 w 214"/>
                <a:gd name="T7" fmla="*/ 156 h 156"/>
                <a:gd name="T8" fmla="*/ 33 w 214"/>
                <a:gd name="T9" fmla="*/ 86 h 156"/>
                <a:gd name="T10" fmla="*/ 107 w 214"/>
                <a:gd name="T11" fmla="*/ 76 h 156"/>
                <a:gd name="T12" fmla="*/ 182 w 214"/>
                <a:gd name="T13" fmla="*/ 86 h 156"/>
                <a:gd name="T14" fmla="*/ 194 w 214"/>
                <a:gd name="T15" fmla="*/ 156 h 156"/>
                <a:gd name="T16" fmla="*/ 201 w 214"/>
                <a:gd name="T17" fmla="*/ 152 h 156"/>
                <a:gd name="T18" fmla="*/ 201 w 214"/>
                <a:gd name="T19" fmla="*/ 134 h 156"/>
                <a:gd name="T20" fmla="*/ 107 w 214"/>
                <a:gd name="T21" fmla="*/ 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4" h="156">
                  <a:moveTo>
                    <a:pt x="107" y="6"/>
                  </a:moveTo>
                  <a:cubicBezTo>
                    <a:pt x="107" y="6"/>
                    <a:pt x="0" y="0"/>
                    <a:pt x="14" y="134"/>
                  </a:cubicBezTo>
                  <a:cubicBezTo>
                    <a:pt x="14" y="152"/>
                    <a:pt x="14" y="152"/>
                    <a:pt x="14" y="152"/>
                  </a:cubicBezTo>
                  <a:cubicBezTo>
                    <a:pt x="20" y="156"/>
                    <a:pt x="20" y="156"/>
                    <a:pt x="20" y="156"/>
                  </a:cubicBezTo>
                  <a:cubicBezTo>
                    <a:pt x="20" y="156"/>
                    <a:pt x="22" y="105"/>
                    <a:pt x="33" y="86"/>
                  </a:cubicBezTo>
                  <a:cubicBezTo>
                    <a:pt x="43" y="68"/>
                    <a:pt x="55" y="76"/>
                    <a:pt x="107" y="76"/>
                  </a:cubicBezTo>
                  <a:cubicBezTo>
                    <a:pt x="159" y="76"/>
                    <a:pt x="171" y="68"/>
                    <a:pt x="182" y="86"/>
                  </a:cubicBezTo>
                  <a:cubicBezTo>
                    <a:pt x="193" y="105"/>
                    <a:pt x="194" y="156"/>
                    <a:pt x="194" y="156"/>
                  </a:cubicBezTo>
                  <a:cubicBezTo>
                    <a:pt x="201" y="152"/>
                    <a:pt x="201" y="152"/>
                    <a:pt x="201" y="152"/>
                  </a:cubicBezTo>
                  <a:cubicBezTo>
                    <a:pt x="201" y="134"/>
                    <a:pt x="201" y="134"/>
                    <a:pt x="201" y="134"/>
                  </a:cubicBezTo>
                  <a:cubicBezTo>
                    <a:pt x="214" y="0"/>
                    <a:pt x="107" y="6"/>
                    <a:pt x="107" y="6"/>
                  </a:cubicBezTo>
                  <a:close/>
                </a:path>
              </a:pathLst>
            </a:custGeom>
            <a:solidFill>
              <a:srgbClr val="8435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7" name="ïŝliḍê">
              <a:extLst>
                <a:ext uri="{FF2B5EF4-FFF2-40B4-BE49-F238E27FC236}">
                  <a16:creationId xmlns:a16="http://schemas.microsoft.com/office/drawing/2014/main" id="{1ED7C8B5-0DA1-4260-B145-BC18D9E5FD56}"/>
                </a:ext>
              </a:extLst>
            </p:cNvPr>
            <p:cNvSpPr/>
            <p:nvPr/>
          </p:nvSpPr>
          <p:spPr bwMode="auto">
            <a:xfrm>
              <a:off x="7899400" y="4151313"/>
              <a:ext cx="1098550" cy="763588"/>
            </a:xfrm>
            <a:custGeom>
              <a:avLst/>
              <a:gdLst>
                <a:gd name="T0" fmla="*/ 16 w 333"/>
                <a:gd name="T1" fmla="*/ 40 h 232"/>
                <a:gd name="T2" fmla="*/ 108 w 333"/>
                <a:gd name="T3" fmla="*/ 139 h 232"/>
                <a:gd name="T4" fmla="*/ 308 w 333"/>
                <a:gd name="T5" fmla="*/ 228 h 232"/>
                <a:gd name="T6" fmla="*/ 308 w 333"/>
                <a:gd name="T7" fmla="*/ 188 h 232"/>
                <a:gd name="T8" fmla="*/ 133 w 333"/>
                <a:gd name="T9" fmla="*/ 107 h 232"/>
                <a:gd name="T10" fmla="*/ 73 w 333"/>
                <a:gd name="T11" fmla="*/ 47 h 232"/>
                <a:gd name="T12" fmla="*/ 54 w 333"/>
                <a:gd name="T13" fmla="*/ 26 h 232"/>
                <a:gd name="T14" fmla="*/ 50 w 333"/>
                <a:gd name="T15" fmla="*/ 19 h 232"/>
                <a:gd name="T16" fmla="*/ 50 w 333"/>
                <a:gd name="T17" fmla="*/ 20 h 232"/>
                <a:gd name="T18" fmla="*/ 16 w 333"/>
                <a:gd name="T19" fmla="*/ 4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3" h="232">
                  <a:moveTo>
                    <a:pt x="16" y="40"/>
                  </a:moveTo>
                  <a:cubicBezTo>
                    <a:pt x="43" y="76"/>
                    <a:pt x="74" y="109"/>
                    <a:pt x="108" y="139"/>
                  </a:cubicBezTo>
                  <a:cubicBezTo>
                    <a:pt x="162" y="186"/>
                    <a:pt x="232" y="232"/>
                    <a:pt x="308" y="228"/>
                  </a:cubicBezTo>
                  <a:cubicBezTo>
                    <a:pt x="333" y="226"/>
                    <a:pt x="333" y="186"/>
                    <a:pt x="308" y="188"/>
                  </a:cubicBezTo>
                  <a:cubicBezTo>
                    <a:pt x="241" y="192"/>
                    <a:pt x="180" y="149"/>
                    <a:pt x="133" y="107"/>
                  </a:cubicBezTo>
                  <a:cubicBezTo>
                    <a:pt x="111" y="89"/>
                    <a:pt x="92" y="68"/>
                    <a:pt x="73" y="47"/>
                  </a:cubicBezTo>
                  <a:cubicBezTo>
                    <a:pt x="66" y="40"/>
                    <a:pt x="60" y="33"/>
                    <a:pt x="54" y="26"/>
                  </a:cubicBezTo>
                  <a:cubicBezTo>
                    <a:pt x="53" y="24"/>
                    <a:pt x="51" y="22"/>
                    <a:pt x="50" y="19"/>
                  </a:cubicBezTo>
                  <a:cubicBezTo>
                    <a:pt x="47" y="16"/>
                    <a:pt x="53" y="24"/>
                    <a:pt x="50" y="20"/>
                  </a:cubicBezTo>
                  <a:cubicBezTo>
                    <a:pt x="35" y="0"/>
                    <a:pt x="0" y="20"/>
                    <a:pt x="16" y="40"/>
                  </a:cubicBezTo>
                  <a:close/>
                </a:path>
              </a:pathLst>
            </a:custGeom>
            <a:solidFill>
              <a:srgbClr val="FECE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8" name="íśliḑê">
              <a:extLst>
                <a:ext uri="{FF2B5EF4-FFF2-40B4-BE49-F238E27FC236}">
                  <a16:creationId xmlns:a16="http://schemas.microsoft.com/office/drawing/2014/main" id="{5D8F75F3-7C4A-4EA9-B8E7-3F30CD50CD25}"/>
                </a:ext>
              </a:extLst>
            </p:cNvPr>
            <p:cNvSpPr/>
            <p:nvPr/>
          </p:nvSpPr>
          <p:spPr bwMode="auto">
            <a:xfrm>
              <a:off x="6537325" y="3940175"/>
              <a:ext cx="614363" cy="757238"/>
            </a:xfrm>
            <a:custGeom>
              <a:avLst/>
              <a:gdLst>
                <a:gd name="T0" fmla="*/ 142 w 186"/>
                <a:gd name="T1" fmla="*/ 65 h 230"/>
                <a:gd name="T2" fmla="*/ 121 w 186"/>
                <a:gd name="T3" fmla="*/ 150 h 230"/>
                <a:gd name="T4" fmla="*/ 118 w 186"/>
                <a:gd name="T5" fmla="*/ 160 h 230"/>
                <a:gd name="T6" fmla="*/ 92 w 186"/>
                <a:gd name="T7" fmla="*/ 60 h 230"/>
                <a:gd name="T8" fmla="*/ 79 w 186"/>
                <a:gd name="T9" fmla="*/ 24 h 230"/>
                <a:gd name="T10" fmla="*/ 25 w 186"/>
                <a:gd name="T11" fmla="*/ 3 h 230"/>
                <a:gd name="T12" fmla="*/ 25 w 186"/>
                <a:gd name="T13" fmla="*/ 43 h 230"/>
                <a:gd name="T14" fmla="*/ 37 w 186"/>
                <a:gd name="T15" fmla="*/ 45 h 230"/>
                <a:gd name="T16" fmla="*/ 47 w 186"/>
                <a:gd name="T17" fmla="*/ 48 h 230"/>
                <a:gd name="T18" fmla="*/ 50 w 186"/>
                <a:gd name="T19" fmla="*/ 56 h 230"/>
                <a:gd name="T20" fmla="*/ 64 w 186"/>
                <a:gd name="T21" fmla="*/ 110 h 230"/>
                <a:gd name="T22" fmla="*/ 96 w 186"/>
                <a:gd name="T23" fmla="*/ 213 h 230"/>
                <a:gd name="T24" fmla="*/ 135 w 186"/>
                <a:gd name="T25" fmla="*/ 218 h 230"/>
                <a:gd name="T26" fmla="*/ 156 w 186"/>
                <a:gd name="T27" fmla="*/ 172 h 230"/>
                <a:gd name="T28" fmla="*/ 181 w 186"/>
                <a:gd name="T29" fmla="*/ 75 h 230"/>
                <a:gd name="T30" fmla="*/ 142 w 186"/>
                <a:gd name="T31" fmla="*/ 65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6" h="230">
                  <a:moveTo>
                    <a:pt x="142" y="65"/>
                  </a:moveTo>
                  <a:cubicBezTo>
                    <a:pt x="136" y="94"/>
                    <a:pt x="129" y="122"/>
                    <a:pt x="121" y="150"/>
                  </a:cubicBezTo>
                  <a:cubicBezTo>
                    <a:pt x="120" y="154"/>
                    <a:pt x="119" y="157"/>
                    <a:pt x="118" y="160"/>
                  </a:cubicBezTo>
                  <a:cubicBezTo>
                    <a:pt x="108" y="127"/>
                    <a:pt x="102" y="93"/>
                    <a:pt x="92" y="60"/>
                  </a:cubicBezTo>
                  <a:cubicBezTo>
                    <a:pt x="89" y="48"/>
                    <a:pt x="86" y="35"/>
                    <a:pt x="79" y="24"/>
                  </a:cubicBezTo>
                  <a:cubicBezTo>
                    <a:pt x="69" y="7"/>
                    <a:pt x="43" y="5"/>
                    <a:pt x="25" y="3"/>
                  </a:cubicBezTo>
                  <a:cubicBezTo>
                    <a:pt x="0" y="0"/>
                    <a:pt x="0" y="40"/>
                    <a:pt x="25" y="43"/>
                  </a:cubicBezTo>
                  <a:cubicBezTo>
                    <a:pt x="20" y="42"/>
                    <a:pt x="35" y="45"/>
                    <a:pt x="37" y="45"/>
                  </a:cubicBezTo>
                  <a:cubicBezTo>
                    <a:pt x="42" y="46"/>
                    <a:pt x="47" y="50"/>
                    <a:pt x="47" y="48"/>
                  </a:cubicBezTo>
                  <a:cubicBezTo>
                    <a:pt x="48" y="50"/>
                    <a:pt x="48" y="52"/>
                    <a:pt x="50" y="56"/>
                  </a:cubicBezTo>
                  <a:cubicBezTo>
                    <a:pt x="55" y="74"/>
                    <a:pt x="60" y="92"/>
                    <a:pt x="64" y="110"/>
                  </a:cubicBezTo>
                  <a:cubicBezTo>
                    <a:pt x="72" y="142"/>
                    <a:pt x="77" y="185"/>
                    <a:pt x="96" y="213"/>
                  </a:cubicBezTo>
                  <a:cubicBezTo>
                    <a:pt x="105" y="227"/>
                    <a:pt x="122" y="230"/>
                    <a:pt x="135" y="218"/>
                  </a:cubicBezTo>
                  <a:cubicBezTo>
                    <a:pt x="146" y="206"/>
                    <a:pt x="151" y="187"/>
                    <a:pt x="156" y="172"/>
                  </a:cubicBezTo>
                  <a:cubicBezTo>
                    <a:pt x="166" y="141"/>
                    <a:pt x="174" y="108"/>
                    <a:pt x="181" y="75"/>
                  </a:cubicBezTo>
                  <a:cubicBezTo>
                    <a:pt x="186" y="50"/>
                    <a:pt x="148" y="40"/>
                    <a:pt x="142" y="65"/>
                  </a:cubicBezTo>
                  <a:close/>
                </a:path>
              </a:pathLst>
            </a:custGeom>
            <a:solidFill>
              <a:srgbClr val="FECE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9" name="işlíďè">
              <a:extLst>
                <a:ext uri="{FF2B5EF4-FFF2-40B4-BE49-F238E27FC236}">
                  <a16:creationId xmlns:a16="http://schemas.microsoft.com/office/drawing/2014/main" id="{B11AFD6D-B248-4723-A8B8-60F1A31E7904}"/>
                </a:ext>
              </a:extLst>
            </p:cNvPr>
            <p:cNvSpPr/>
            <p:nvPr/>
          </p:nvSpPr>
          <p:spPr bwMode="auto">
            <a:xfrm>
              <a:off x="7158038" y="3373438"/>
              <a:ext cx="762000" cy="873125"/>
            </a:xfrm>
            <a:custGeom>
              <a:avLst/>
              <a:gdLst>
                <a:gd name="T0" fmla="*/ 19 w 231"/>
                <a:gd name="T1" fmla="*/ 0 h 265"/>
                <a:gd name="T2" fmla="*/ 14 w 231"/>
                <a:gd name="T3" fmla="*/ 217 h 265"/>
                <a:gd name="T4" fmla="*/ 230 w 231"/>
                <a:gd name="T5" fmla="*/ 217 h 265"/>
                <a:gd name="T6" fmla="*/ 216 w 231"/>
                <a:gd name="T7" fmla="*/ 6 h 265"/>
                <a:gd name="T8" fmla="*/ 19 w 231"/>
                <a:gd name="T9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" h="265">
                  <a:moveTo>
                    <a:pt x="19" y="0"/>
                  </a:moveTo>
                  <a:cubicBezTo>
                    <a:pt x="19" y="0"/>
                    <a:pt x="0" y="111"/>
                    <a:pt x="14" y="217"/>
                  </a:cubicBezTo>
                  <a:cubicBezTo>
                    <a:pt x="14" y="217"/>
                    <a:pt x="120" y="265"/>
                    <a:pt x="230" y="217"/>
                  </a:cubicBezTo>
                  <a:cubicBezTo>
                    <a:pt x="230" y="217"/>
                    <a:pt x="231" y="58"/>
                    <a:pt x="216" y="6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EA75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0" name="ïśľîḋè">
              <a:extLst>
                <a:ext uri="{FF2B5EF4-FFF2-40B4-BE49-F238E27FC236}">
                  <a16:creationId xmlns:a16="http://schemas.microsoft.com/office/drawing/2014/main" id="{E5112856-4203-4D76-B693-0C8756A471B3}"/>
                </a:ext>
              </a:extLst>
            </p:cNvPr>
            <p:cNvSpPr/>
            <p:nvPr/>
          </p:nvSpPr>
          <p:spPr bwMode="auto">
            <a:xfrm>
              <a:off x="7378700" y="3833813"/>
              <a:ext cx="342900" cy="363538"/>
            </a:xfrm>
            <a:custGeom>
              <a:avLst/>
              <a:gdLst>
                <a:gd name="T0" fmla="*/ 162 w 216"/>
                <a:gd name="T1" fmla="*/ 0 h 229"/>
                <a:gd name="T2" fmla="*/ 108 w 216"/>
                <a:gd name="T3" fmla="*/ 0 h 229"/>
                <a:gd name="T4" fmla="*/ 54 w 216"/>
                <a:gd name="T5" fmla="*/ 0 h 229"/>
                <a:gd name="T6" fmla="*/ 0 w 216"/>
                <a:gd name="T7" fmla="*/ 139 h 229"/>
                <a:gd name="T8" fmla="*/ 108 w 216"/>
                <a:gd name="T9" fmla="*/ 229 h 229"/>
                <a:gd name="T10" fmla="*/ 216 w 216"/>
                <a:gd name="T11" fmla="*/ 131 h 229"/>
                <a:gd name="T12" fmla="*/ 162 w 216"/>
                <a:gd name="T13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29">
                  <a:moveTo>
                    <a:pt x="162" y="0"/>
                  </a:moveTo>
                  <a:lnTo>
                    <a:pt x="108" y="0"/>
                  </a:lnTo>
                  <a:lnTo>
                    <a:pt x="54" y="0"/>
                  </a:lnTo>
                  <a:lnTo>
                    <a:pt x="0" y="139"/>
                  </a:lnTo>
                  <a:lnTo>
                    <a:pt x="108" y="229"/>
                  </a:lnTo>
                  <a:lnTo>
                    <a:pt x="216" y="13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FECE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1" name="iŝḻîḋè">
              <a:extLst>
                <a:ext uri="{FF2B5EF4-FFF2-40B4-BE49-F238E27FC236}">
                  <a16:creationId xmlns:a16="http://schemas.microsoft.com/office/drawing/2014/main" id="{A98D31C8-5A23-4ED2-87A8-52C3DC069775}"/>
                </a:ext>
              </a:extLst>
            </p:cNvPr>
            <p:cNvSpPr/>
            <p:nvPr/>
          </p:nvSpPr>
          <p:spPr bwMode="auto">
            <a:xfrm>
              <a:off x="7250113" y="3208338"/>
              <a:ext cx="600075" cy="741363"/>
            </a:xfrm>
            <a:custGeom>
              <a:avLst/>
              <a:gdLst>
                <a:gd name="T0" fmla="*/ 181 w 182"/>
                <a:gd name="T1" fmla="*/ 101 h 225"/>
                <a:gd name="T2" fmla="*/ 91 w 182"/>
                <a:gd name="T3" fmla="*/ 6 h 225"/>
                <a:gd name="T4" fmla="*/ 0 w 182"/>
                <a:gd name="T5" fmla="*/ 101 h 225"/>
                <a:gd name="T6" fmla="*/ 14 w 182"/>
                <a:gd name="T7" fmla="*/ 181 h 225"/>
                <a:gd name="T8" fmla="*/ 91 w 182"/>
                <a:gd name="T9" fmla="*/ 225 h 225"/>
                <a:gd name="T10" fmla="*/ 167 w 182"/>
                <a:gd name="T11" fmla="*/ 181 h 225"/>
                <a:gd name="T12" fmla="*/ 181 w 182"/>
                <a:gd name="T13" fmla="*/ 101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2" h="225">
                  <a:moveTo>
                    <a:pt x="181" y="101"/>
                  </a:moveTo>
                  <a:cubicBezTo>
                    <a:pt x="181" y="2"/>
                    <a:pt x="91" y="6"/>
                    <a:pt x="91" y="6"/>
                  </a:cubicBezTo>
                  <a:cubicBezTo>
                    <a:pt x="91" y="6"/>
                    <a:pt x="0" y="0"/>
                    <a:pt x="0" y="101"/>
                  </a:cubicBezTo>
                  <a:cubicBezTo>
                    <a:pt x="0" y="101"/>
                    <a:pt x="0" y="159"/>
                    <a:pt x="14" y="181"/>
                  </a:cubicBezTo>
                  <a:cubicBezTo>
                    <a:pt x="33" y="210"/>
                    <a:pt x="67" y="225"/>
                    <a:pt x="91" y="225"/>
                  </a:cubicBezTo>
                  <a:cubicBezTo>
                    <a:pt x="114" y="225"/>
                    <a:pt x="149" y="212"/>
                    <a:pt x="167" y="181"/>
                  </a:cubicBezTo>
                  <a:cubicBezTo>
                    <a:pt x="182" y="157"/>
                    <a:pt x="181" y="101"/>
                    <a:pt x="181" y="101"/>
                  </a:cubicBezTo>
                  <a:close/>
                </a:path>
              </a:pathLst>
            </a:custGeom>
            <a:solidFill>
              <a:srgbClr val="FECE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2" name="íṩ1íḑê">
              <a:extLst>
                <a:ext uri="{FF2B5EF4-FFF2-40B4-BE49-F238E27FC236}">
                  <a16:creationId xmlns:a16="http://schemas.microsoft.com/office/drawing/2014/main" id="{9AD1AB70-A66C-47EB-A419-3EE2773ACD64}"/>
                </a:ext>
              </a:extLst>
            </p:cNvPr>
            <p:cNvSpPr/>
            <p:nvPr/>
          </p:nvSpPr>
          <p:spPr bwMode="auto">
            <a:xfrm>
              <a:off x="7831138" y="3541713"/>
              <a:ext cx="68263" cy="160338"/>
            </a:xfrm>
            <a:custGeom>
              <a:avLst/>
              <a:gdLst>
                <a:gd name="T0" fmla="*/ 3 w 21"/>
                <a:gd name="T1" fmla="*/ 12 h 49"/>
                <a:gd name="T2" fmla="*/ 15 w 21"/>
                <a:gd name="T3" fmla="*/ 8 h 49"/>
                <a:gd name="T4" fmla="*/ 0 w 21"/>
                <a:gd name="T5" fmla="*/ 49 h 49"/>
                <a:gd name="T6" fmla="*/ 3 w 21"/>
                <a:gd name="T7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49">
                  <a:moveTo>
                    <a:pt x="3" y="12"/>
                  </a:moveTo>
                  <a:cubicBezTo>
                    <a:pt x="3" y="12"/>
                    <a:pt x="9" y="0"/>
                    <a:pt x="15" y="8"/>
                  </a:cubicBezTo>
                  <a:cubicBezTo>
                    <a:pt x="21" y="16"/>
                    <a:pt x="20" y="49"/>
                    <a:pt x="0" y="49"/>
                  </a:cubicBezTo>
                  <a:cubicBezTo>
                    <a:pt x="0" y="49"/>
                    <a:pt x="3" y="20"/>
                    <a:pt x="3" y="12"/>
                  </a:cubicBezTo>
                  <a:close/>
                </a:path>
              </a:pathLst>
            </a:custGeom>
            <a:solidFill>
              <a:srgbClr val="FECE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3" name="ïṣļîḑé">
              <a:extLst>
                <a:ext uri="{FF2B5EF4-FFF2-40B4-BE49-F238E27FC236}">
                  <a16:creationId xmlns:a16="http://schemas.microsoft.com/office/drawing/2014/main" id="{2D37602B-6A9A-42E7-A827-FC2858A8210B}"/>
                </a:ext>
              </a:extLst>
            </p:cNvPr>
            <p:cNvSpPr/>
            <p:nvPr/>
          </p:nvSpPr>
          <p:spPr bwMode="auto">
            <a:xfrm>
              <a:off x="7840663" y="3579813"/>
              <a:ext cx="39688" cy="85725"/>
            </a:xfrm>
            <a:custGeom>
              <a:avLst/>
              <a:gdLst>
                <a:gd name="T0" fmla="*/ 0 w 12"/>
                <a:gd name="T1" fmla="*/ 12 h 26"/>
                <a:gd name="T2" fmla="*/ 8 w 12"/>
                <a:gd name="T3" fmla="*/ 6 h 26"/>
                <a:gd name="T4" fmla="*/ 4 w 12"/>
                <a:gd name="T5" fmla="*/ 26 h 26"/>
                <a:gd name="T6" fmla="*/ 0 w 12"/>
                <a:gd name="T7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0" y="12"/>
                  </a:moveTo>
                  <a:cubicBezTo>
                    <a:pt x="0" y="12"/>
                    <a:pt x="4" y="0"/>
                    <a:pt x="8" y="6"/>
                  </a:cubicBezTo>
                  <a:cubicBezTo>
                    <a:pt x="12" y="12"/>
                    <a:pt x="10" y="20"/>
                    <a:pt x="4" y="26"/>
                  </a:cubicBezTo>
                  <a:cubicBezTo>
                    <a:pt x="4" y="26"/>
                    <a:pt x="7" y="4"/>
                    <a:pt x="0" y="12"/>
                  </a:cubicBezTo>
                  <a:close/>
                </a:path>
              </a:pathLst>
            </a:custGeom>
            <a:solidFill>
              <a:srgbClr val="EEB8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4" name="íṧlíḓê">
              <a:extLst>
                <a:ext uri="{FF2B5EF4-FFF2-40B4-BE49-F238E27FC236}">
                  <a16:creationId xmlns:a16="http://schemas.microsoft.com/office/drawing/2014/main" id="{130C786E-D1A5-4367-AA9D-89A12B1227F0}"/>
                </a:ext>
              </a:extLst>
            </p:cNvPr>
            <p:cNvSpPr/>
            <p:nvPr/>
          </p:nvSpPr>
          <p:spPr bwMode="auto">
            <a:xfrm>
              <a:off x="7194550" y="3541713"/>
              <a:ext cx="73025" cy="160338"/>
            </a:xfrm>
            <a:custGeom>
              <a:avLst/>
              <a:gdLst>
                <a:gd name="T0" fmla="*/ 18 w 22"/>
                <a:gd name="T1" fmla="*/ 12 h 49"/>
                <a:gd name="T2" fmla="*/ 6 w 22"/>
                <a:gd name="T3" fmla="*/ 8 h 49"/>
                <a:gd name="T4" fmla="*/ 22 w 22"/>
                <a:gd name="T5" fmla="*/ 49 h 49"/>
                <a:gd name="T6" fmla="*/ 18 w 22"/>
                <a:gd name="T7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49">
                  <a:moveTo>
                    <a:pt x="18" y="12"/>
                  </a:moveTo>
                  <a:cubicBezTo>
                    <a:pt x="18" y="12"/>
                    <a:pt x="12" y="0"/>
                    <a:pt x="6" y="8"/>
                  </a:cubicBezTo>
                  <a:cubicBezTo>
                    <a:pt x="0" y="16"/>
                    <a:pt x="2" y="49"/>
                    <a:pt x="22" y="49"/>
                  </a:cubicBezTo>
                  <a:cubicBezTo>
                    <a:pt x="22" y="49"/>
                    <a:pt x="18" y="20"/>
                    <a:pt x="18" y="12"/>
                  </a:cubicBezTo>
                  <a:close/>
                </a:path>
              </a:pathLst>
            </a:custGeom>
            <a:solidFill>
              <a:srgbClr val="FECE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5" name="ïsḻïḋé">
              <a:extLst>
                <a:ext uri="{FF2B5EF4-FFF2-40B4-BE49-F238E27FC236}">
                  <a16:creationId xmlns:a16="http://schemas.microsoft.com/office/drawing/2014/main" id="{C22CBDB3-BB7B-4862-AEBD-5CFACD502433}"/>
                </a:ext>
              </a:extLst>
            </p:cNvPr>
            <p:cNvSpPr/>
            <p:nvPr/>
          </p:nvSpPr>
          <p:spPr bwMode="auto">
            <a:xfrm>
              <a:off x="7213600" y="3579813"/>
              <a:ext cx="39688" cy="85725"/>
            </a:xfrm>
            <a:custGeom>
              <a:avLst/>
              <a:gdLst>
                <a:gd name="T0" fmla="*/ 12 w 12"/>
                <a:gd name="T1" fmla="*/ 12 h 26"/>
                <a:gd name="T2" fmla="*/ 4 w 12"/>
                <a:gd name="T3" fmla="*/ 6 h 26"/>
                <a:gd name="T4" fmla="*/ 8 w 12"/>
                <a:gd name="T5" fmla="*/ 26 h 26"/>
                <a:gd name="T6" fmla="*/ 12 w 12"/>
                <a:gd name="T7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12" y="12"/>
                  </a:moveTo>
                  <a:cubicBezTo>
                    <a:pt x="12" y="12"/>
                    <a:pt x="8" y="0"/>
                    <a:pt x="4" y="6"/>
                  </a:cubicBezTo>
                  <a:cubicBezTo>
                    <a:pt x="0" y="12"/>
                    <a:pt x="2" y="20"/>
                    <a:pt x="8" y="26"/>
                  </a:cubicBezTo>
                  <a:cubicBezTo>
                    <a:pt x="8" y="26"/>
                    <a:pt x="5" y="4"/>
                    <a:pt x="12" y="12"/>
                  </a:cubicBezTo>
                  <a:close/>
                </a:path>
              </a:pathLst>
            </a:custGeom>
            <a:solidFill>
              <a:srgbClr val="EEB8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6" name="îSľïḋé">
              <a:extLst>
                <a:ext uri="{FF2B5EF4-FFF2-40B4-BE49-F238E27FC236}">
                  <a16:creationId xmlns:a16="http://schemas.microsoft.com/office/drawing/2014/main" id="{84CBC9F9-C72B-42D0-8B84-BFFF68BDD07B}"/>
                </a:ext>
              </a:extLst>
            </p:cNvPr>
            <p:cNvSpPr/>
            <p:nvPr/>
          </p:nvSpPr>
          <p:spPr bwMode="auto">
            <a:xfrm>
              <a:off x="7516813" y="3679825"/>
              <a:ext cx="69850" cy="42863"/>
            </a:xfrm>
            <a:prstGeom prst="ellipse">
              <a:avLst/>
            </a:prstGeom>
            <a:solidFill>
              <a:srgbClr val="EEB8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7" name="ïŝ1ïḑe">
              <a:extLst>
                <a:ext uri="{FF2B5EF4-FFF2-40B4-BE49-F238E27FC236}">
                  <a16:creationId xmlns:a16="http://schemas.microsoft.com/office/drawing/2014/main" id="{0732E85F-2AB1-4716-AB25-76D3675ADB4C}"/>
                </a:ext>
              </a:extLst>
            </p:cNvPr>
            <p:cNvSpPr/>
            <p:nvPr/>
          </p:nvSpPr>
          <p:spPr bwMode="auto">
            <a:xfrm>
              <a:off x="7693025" y="3576638"/>
              <a:ext cx="55563" cy="76200"/>
            </a:xfrm>
            <a:prstGeom prst="ellipse">
              <a:avLst/>
            </a:prstGeom>
            <a:solidFill>
              <a:srgbClr val="6C31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8" name="ïšľíḓè">
              <a:extLst>
                <a:ext uri="{FF2B5EF4-FFF2-40B4-BE49-F238E27FC236}">
                  <a16:creationId xmlns:a16="http://schemas.microsoft.com/office/drawing/2014/main" id="{5057D129-2AEA-401F-912B-8A20497E1AEA}"/>
                </a:ext>
              </a:extLst>
            </p:cNvPr>
            <p:cNvSpPr/>
            <p:nvPr/>
          </p:nvSpPr>
          <p:spPr bwMode="auto">
            <a:xfrm>
              <a:off x="7362825" y="3576638"/>
              <a:ext cx="55563" cy="76200"/>
            </a:xfrm>
            <a:prstGeom prst="ellipse">
              <a:avLst/>
            </a:prstGeom>
            <a:solidFill>
              <a:srgbClr val="6C31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9" name="îśḷîḍè">
              <a:extLst>
                <a:ext uri="{FF2B5EF4-FFF2-40B4-BE49-F238E27FC236}">
                  <a16:creationId xmlns:a16="http://schemas.microsoft.com/office/drawing/2014/main" id="{3F5ADA94-8F75-4DBA-A76A-9FE5A05002B4}"/>
                </a:ext>
              </a:extLst>
            </p:cNvPr>
            <p:cNvSpPr/>
            <p:nvPr/>
          </p:nvSpPr>
          <p:spPr bwMode="auto">
            <a:xfrm>
              <a:off x="7669213" y="3505200"/>
              <a:ext cx="98425" cy="33338"/>
            </a:xfrm>
            <a:custGeom>
              <a:avLst/>
              <a:gdLst>
                <a:gd name="T0" fmla="*/ 0 w 30"/>
                <a:gd name="T1" fmla="*/ 6 h 10"/>
                <a:gd name="T2" fmla="*/ 4 w 30"/>
                <a:gd name="T3" fmla="*/ 3 h 10"/>
                <a:gd name="T4" fmla="*/ 9 w 30"/>
                <a:gd name="T5" fmla="*/ 1 h 10"/>
                <a:gd name="T6" fmla="*/ 16 w 30"/>
                <a:gd name="T7" fmla="*/ 0 h 10"/>
                <a:gd name="T8" fmla="*/ 22 w 30"/>
                <a:gd name="T9" fmla="*/ 2 h 10"/>
                <a:gd name="T10" fmla="*/ 27 w 30"/>
                <a:gd name="T11" fmla="*/ 5 h 10"/>
                <a:gd name="T12" fmla="*/ 30 w 30"/>
                <a:gd name="T13" fmla="*/ 10 h 10"/>
                <a:gd name="T14" fmla="*/ 25 w 30"/>
                <a:gd name="T15" fmla="*/ 8 h 10"/>
                <a:gd name="T16" fmla="*/ 21 w 30"/>
                <a:gd name="T17" fmla="*/ 7 h 10"/>
                <a:gd name="T18" fmla="*/ 18 w 30"/>
                <a:gd name="T19" fmla="*/ 7 h 10"/>
                <a:gd name="T20" fmla="*/ 15 w 30"/>
                <a:gd name="T21" fmla="*/ 7 h 10"/>
                <a:gd name="T22" fmla="*/ 5 w 30"/>
                <a:gd name="T23" fmla="*/ 6 h 10"/>
                <a:gd name="T24" fmla="*/ 0 w 30"/>
                <a:gd name="T2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10">
                  <a:moveTo>
                    <a:pt x="0" y="6"/>
                  </a:moveTo>
                  <a:cubicBezTo>
                    <a:pt x="0" y="6"/>
                    <a:pt x="1" y="4"/>
                    <a:pt x="4" y="3"/>
                  </a:cubicBezTo>
                  <a:cubicBezTo>
                    <a:pt x="6" y="2"/>
                    <a:pt x="7" y="1"/>
                    <a:pt x="9" y="1"/>
                  </a:cubicBezTo>
                  <a:cubicBezTo>
                    <a:pt x="11" y="1"/>
                    <a:pt x="14" y="0"/>
                    <a:pt x="16" y="0"/>
                  </a:cubicBezTo>
                  <a:cubicBezTo>
                    <a:pt x="18" y="1"/>
                    <a:pt x="20" y="1"/>
                    <a:pt x="22" y="2"/>
                  </a:cubicBezTo>
                  <a:cubicBezTo>
                    <a:pt x="24" y="3"/>
                    <a:pt x="26" y="4"/>
                    <a:pt x="27" y="5"/>
                  </a:cubicBezTo>
                  <a:cubicBezTo>
                    <a:pt x="30" y="7"/>
                    <a:pt x="30" y="10"/>
                    <a:pt x="30" y="10"/>
                  </a:cubicBezTo>
                  <a:cubicBezTo>
                    <a:pt x="30" y="10"/>
                    <a:pt x="28" y="9"/>
                    <a:pt x="25" y="8"/>
                  </a:cubicBezTo>
                  <a:cubicBezTo>
                    <a:pt x="24" y="8"/>
                    <a:pt x="22" y="8"/>
                    <a:pt x="21" y="7"/>
                  </a:cubicBezTo>
                  <a:cubicBezTo>
                    <a:pt x="20" y="7"/>
                    <a:pt x="19" y="7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8" y="7"/>
                    <a:pt x="5" y="6"/>
                  </a:cubicBezTo>
                  <a:cubicBezTo>
                    <a:pt x="2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D367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0" name="iṥḻiḑe">
              <a:extLst>
                <a:ext uri="{FF2B5EF4-FFF2-40B4-BE49-F238E27FC236}">
                  <a16:creationId xmlns:a16="http://schemas.microsoft.com/office/drawing/2014/main" id="{D34AF931-39BE-4B13-A756-B4D59B60A58A}"/>
                </a:ext>
              </a:extLst>
            </p:cNvPr>
            <p:cNvSpPr/>
            <p:nvPr/>
          </p:nvSpPr>
          <p:spPr bwMode="auto">
            <a:xfrm>
              <a:off x="7332663" y="3505200"/>
              <a:ext cx="101600" cy="33338"/>
            </a:xfrm>
            <a:custGeom>
              <a:avLst/>
              <a:gdLst>
                <a:gd name="T0" fmla="*/ 31 w 31"/>
                <a:gd name="T1" fmla="*/ 6 h 10"/>
                <a:gd name="T2" fmla="*/ 26 w 31"/>
                <a:gd name="T3" fmla="*/ 3 h 10"/>
                <a:gd name="T4" fmla="*/ 21 w 31"/>
                <a:gd name="T5" fmla="*/ 1 h 10"/>
                <a:gd name="T6" fmla="*/ 14 w 31"/>
                <a:gd name="T7" fmla="*/ 0 h 10"/>
                <a:gd name="T8" fmla="*/ 8 w 31"/>
                <a:gd name="T9" fmla="*/ 2 h 10"/>
                <a:gd name="T10" fmla="*/ 3 w 31"/>
                <a:gd name="T11" fmla="*/ 5 h 10"/>
                <a:gd name="T12" fmla="*/ 0 w 31"/>
                <a:gd name="T13" fmla="*/ 10 h 10"/>
                <a:gd name="T14" fmla="*/ 5 w 31"/>
                <a:gd name="T15" fmla="*/ 8 h 10"/>
                <a:gd name="T16" fmla="*/ 9 w 31"/>
                <a:gd name="T17" fmla="*/ 7 h 10"/>
                <a:gd name="T18" fmla="*/ 12 w 31"/>
                <a:gd name="T19" fmla="*/ 7 h 10"/>
                <a:gd name="T20" fmla="*/ 15 w 31"/>
                <a:gd name="T21" fmla="*/ 7 h 10"/>
                <a:gd name="T22" fmla="*/ 25 w 31"/>
                <a:gd name="T23" fmla="*/ 6 h 10"/>
                <a:gd name="T24" fmla="*/ 31 w 31"/>
                <a:gd name="T2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" h="10">
                  <a:moveTo>
                    <a:pt x="31" y="6"/>
                  </a:moveTo>
                  <a:cubicBezTo>
                    <a:pt x="31" y="6"/>
                    <a:pt x="29" y="4"/>
                    <a:pt x="26" y="3"/>
                  </a:cubicBezTo>
                  <a:cubicBezTo>
                    <a:pt x="25" y="2"/>
                    <a:pt x="23" y="1"/>
                    <a:pt x="21" y="1"/>
                  </a:cubicBezTo>
                  <a:cubicBezTo>
                    <a:pt x="19" y="1"/>
                    <a:pt x="17" y="0"/>
                    <a:pt x="14" y="0"/>
                  </a:cubicBezTo>
                  <a:cubicBezTo>
                    <a:pt x="12" y="1"/>
                    <a:pt x="10" y="1"/>
                    <a:pt x="8" y="2"/>
                  </a:cubicBezTo>
                  <a:cubicBezTo>
                    <a:pt x="6" y="3"/>
                    <a:pt x="4" y="4"/>
                    <a:pt x="3" y="5"/>
                  </a:cubicBezTo>
                  <a:cubicBezTo>
                    <a:pt x="0" y="7"/>
                    <a:pt x="0" y="10"/>
                    <a:pt x="0" y="10"/>
                  </a:cubicBezTo>
                  <a:cubicBezTo>
                    <a:pt x="0" y="10"/>
                    <a:pt x="2" y="9"/>
                    <a:pt x="5" y="8"/>
                  </a:cubicBezTo>
                  <a:cubicBezTo>
                    <a:pt x="6" y="8"/>
                    <a:pt x="8" y="8"/>
                    <a:pt x="9" y="7"/>
                  </a:cubicBezTo>
                  <a:cubicBezTo>
                    <a:pt x="10" y="7"/>
                    <a:pt x="11" y="7"/>
                    <a:pt x="12" y="7"/>
                  </a:cubicBezTo>
                  <a:cubicBezTo>
                    <a:pt x="13" y="7"/>
                    <a:pt x="14" y="7"/>
                    <a:pt x="15" y="7"/>
                  </a:cubicBezTo>
                  <a:cubicBezTo>
                    <a:pt x="18" y="7"/>
                    <a:pt x="22" y="7"/>
                    <a:pt x="25" y="6"/>
                  </a:cubicBezTo>
                  <a:cubicBezTo>
                    <a:pt x="28" y="6"/>
                    <a:pt x="31" y="6"/>
                    <a:pt x="31" y="6"/>
                  </a:cubicBezTo>
                  <a:close/>
                </a:path>
              </a:pathLst>
            </a:custGeom>
            <a:solidFill>
              <a:srgbClr val="D367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1" name="îṣlîḓè">
              <a:extLst>
                <a:ext uri="{FF2B5EF4-FFF2-40B4-BE49-F238E27FC236}">
                  <a16:creationId xmlns:a16="http://schemas.microsoft.com/office/drawing/2014/main" id="{EBD2BCBD-8C07-429E-965A-09F7D6268534}"/>
                </a:ext>
              </a:extLst>
            </p:cNvPr>
            <p:cNvSpPr/>
            <p:nvPr/>
          </p:nvSpPr>
          <p:spPr bwMode="auto">
            <a:xfrm>
              <a:off x="7504113" y="3781425"/>
              <a:ext cx="92075" cy="15875"/>
            </a:xfrm>
            <a:custGeom>
              <a:avLst/>
              <a:gdLst>
                <a:gd name="T0" fmla="*/ 4 w 28"/>
                <a:gd name="T1" fmla="*/ 5 h 5"/>
                <a:gd name="T2" fmla="*/ 25 w 28"/>
                <a:gd name="T3" fmla="*/ 5 h 5"/>
                <a:gd name="T4" fmla="*/ 25 w 28"/>
                <a:gd name="T5" fmla="*/ 0 h 5"/>
                <a:gd name="T6" fmla="*/ 4 w 28"/>
                <a:gd name="T7" fmla="*/ 0 h 5"/>
                <a:gd name="T8" fmla="*/ 4 w 28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5">
                  <a:moveTo>
                    <a:pt x="4" y="5"/>
                  </a:moveTo>
                  <a:cubicBezTo>
                    <a:pt x="11" y="5"/>
                    <a:pt x="18" y="5"/>
                    <a:pt x="25" y="5"/>
                  </a:cubicBezTo>
                  <a:cubicBezTo>
                    <a:pt x="28" y="5"/>
                    <a:pt x="28" y="0"/>
                    <a:pt x="25" y="0"/>
                  </a:cubicBezTo>
                  <a:cubicBezTo>
                    <a:pt x="18" y="0"/>
                    <a:pt x="11" y="0"/>
                    <a:pt x="4" y="0"/>
                  </a:cubicBezTo>
                  <a:cubicBezTo>
                    <a:pt x="0" y="0"/>
                    <a:pt x="0" y="5"/>
                    <a:pt x="4" y="5"/>
                  </a:cubicBezTo>
                  <a:close/>
                </a:path>
              </a:pathLst>
            </a:custGeom>
            <a:solidFill>
              <a:srgbClr val="EEB8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2" name="îšľïḑê">
              <a:extLst>
                <a:ext uri="{FF2B5EF4-FFF2-40B4-BE49-F238E27FC236}">
                  <a16:creationId xmlns:a16="http://schemas.microsoft.com/office/drawing/2014/main" id="{87554587-6746-49D8-97C1-1200B4B1422B}"/>
                </a:ext>
              </a:extLst>
            </p:cNvPr>
            <p:cNvSpPr/>
            <p:nvPr/>
          </p:nvSpPr>
          <p:spPr bwMode="auto">
            <a:xfrm>
              <a:off x="7118350" y="3971925"/>
              <a:ext cx="857250" cy="1019175"/>
            </a:xfrm>
            <a:custGeom>
              <a:avLst/>
              <a:gdLst>
                <a:gd name="T0" fmla="*/ 260 w 260"/>
                <a:gd name="T1" fmla="*/ 24 h 309"/>
                <a:gd name="T2" fmla="*/ 174 w 260"/>
                <a:gd name="T3" fmla="*/ 0 h 309"/>
                <a:gd name="T4" fmla="*/ 131 w 260"/>
                <a:gd name="T5" fmla="*/ 34 h 309"/>
                <a:gd name="T6" fmla="*/ 131 w 260"/>
                <a:gd name="T7" fmla="*/ 34 h 309"/>
                <a:gd name="T8" fmla="*/ 130 w 260"/>
                <a:gd name="T9" fmla="*/ 34 h 309"/>
                <a:gd name="T10" fmla="*/ 130 w 260"/>
                <a:gd name="T11" fmla="*/ 34 h 309"/>
                <a:gd name="T12" fmla="*/ 130 w 260"/>
                <a:gd name="T13" fmla="*/ 34 h 309"/>
                <a:gd name="T14" fmla="*/ 89 w 260"/>
                <a:gd name="T15" fmla="*/ 0 h 309"/>
                <a:gd name="T16" fmla="*/ 0 w 260"/>
                <a:gd name="T17" fmla="*/ 8 h 309"/>
                <a:gd name="T18" fmla="*/ 11 w 260"/>
                <a:gd name="T19" fmla="*/ 130 h 309"/>
                <a:gd name="T20" fmla="*/ 20 w 260"/>
                <a:gd name="T21" fmla="*/ 183 h 309"/>
                <a:gd name="T22" fmla="*/ 8 w 260"/>
                <a:gd name="T23" fmla="*/ 309 h 309"/>
                <a:gd name="T24" fmla="*/ 252 w 260"/>
                <a:gd name="T25" fmla="*/ 309 h 309"/>
                <a:gd name="T26" fmla="*/ 240 w 260"/>
                <a:gd name="T27" fmla="*/ 183 h 309"/>
                <a:gd name="T28" fmla="*/ 249 w 260"/>
                <a:gd name="T29" fmla="*/ 130 h 309"/>
                <a:gd name="T30" fmla="*/ 260 w 260"/>
                <a:gd name="T31" fmla="*/ 24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0" h="309">
                  <a:moveTo>
                    <a:pt x="260" y="24"/>
                  </a:moveTo>
                  <a:cubicBezTo>
                    <a:pt x="174" y="0"/>
                    <a:pt x="174" y="0"/>
                    <a:pt x="174" y="0"/>
                  </a:cubicBezTo>
                  <a:cubicBezTo>
                    <a:pt x="168" y="27"/>
                    <a:pt x="136" y="34"/>
                    <a:pt x="131" y="34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1" y="34"/>
                    <a:pt x="130" y="34"/>
                    <a:pt x="130" y="34"/>
                  </a:cubicBezTo>
                  <a:cubicBezTo>
                    <a:pt x="130" y="34"/>
                    <a:pt x="130" y="34"/>
                    <a:pt x="130" y="34"/>
                  </a:cubicBezTo>
                  <a:cubicBezTo>
                    <a:pt x="130" y="34"/>
                    <a:pt x="130" y="34"/>
                    <a:pt x="130" y="34"/>
                  </a:cubicBezTo>
                  <a:cubicBezTo>
                    <a:pt x="124" y="34"/>
                    <a:pt x="95" y="27"/>
                    <a:pt x="89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1" y="130"/>
                    <a:pt x="11" y="130"/>
                    <a:pt x="11" y="130"/>
                  </a:cubicBezTo>
                  <a:cubicBezTo>
                    <a:pt x="11" y="130"/>
                    <a:pt x="5" y="161"/>
                    <a:pt x="20" y="183"/>
                  </a:cubicBezTo>
                  <a:cubicBezTo>
                    <a:pt x="36" y="206"/>
                    <a:pt x="8" y="309"/>
                    <a:pt x="8" y="309"/>
                  </a:cubicBezTo>
                  <a:cubicBezTo>
                    <a:pt x="252" y="309"/>
                    <a:pt x="252" y="309"/>
                    <a:pt x="252" y="309"/>
                  </a:cubicBezTo>
                  <a:cubicBezTo>
                    <a:pt x="252" y="309"/>
                    <a:pt x="225" y="206"/>
                    <a:pt x="240" y="183"/>
                  </a:cubicBezTo>
                  <a:cubicBezTo>
                    <a:pt x="256" y="161"/>
                    <a:pt x="249" y="130"/>
                    <a:pt x="249" y="130"/>
                  </a:cubicBezTo>
                  <a:lnTo>
                    <a:pt x="260" y="24"/>
                  </a:lnTo>
                  <a:close/>
                </a:path>
              </a:pathLst>
            </a:custGeom>
            <a:solidFill>
              <a:srgbClr val="F98A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3" name="îṥliḓê">
              <a:extLst>
                <a:ext uri="{FF2B5EF4-FFF2-40B4-BE49-F238E27FC236}">
                  <a16:creationId xmlns:a16="http://schemas.microsoft.com/office/drawing/2014/main" id="{6B04F664-75A4-4CA0-9CB6-7CCA356FD199}"/>
                </a:ext>
              </a:extLst>
            </p:cNvPr>
            <p:cNvSpPr/>
            <p:nvPr/>
          </p:nvSpPr>
          <p:spPr bwMode="auto">
            <a:xfrm>
              <a:off x="7088188" y="4991100"/>
              <a:ext cx="917575" cy="349250"/>
            </a:xfrm>
            <a:custGeom>
              <a:avLst/>
              <a:gdLst>
                <a:gd name="T0" fmla="*/ 261 w 278"/>
                <a:gd name="T1" fmla="*/ 0 h 106"/>
                <a:gd name="T2" fmla="*/ 137 w 278"/>
                <a:gd name="T3" fmla="*/ 0 h 106"/>
                <a:gd name="T4" fmla="*/ 17 w 278"/>
                <a:gd name="T5" fmla="*/ 0 h 106"/>
                <a:gd name="T6" fmla="*/ 54 w 278"/>
                <a:gd name="T7" fmla="*/ 106 h 106"/>
                <a:gd name="T8" fmla="*/ 137 w 278"/>
                <a:gd name="T9" fmla="*/ 106 h 106"/>
                <a:gd name="T10" fmla="*/ 224 w 278"/>
                <a:gd name="T11" fmla="*/ 106 h 106"/>
                <a:gd name="T12" fmla="*/ 261 w 278"/>
                <a:gd name="T1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8" h="106">
                  <a:moveTo>
                    <a:pt x="261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0" y="106"/>
                    <a:pt x="54" y="106"/>
                  </a:cubicBezTo>
                  <a:cubicBezTo>
                    <a:pt x="109" y="106"/>
                    <a:pt x="137" y="106"/>
                    <a:pt x="137" y="106"/>
                  </a:cubicBezTo>
                  <a:cubicBezTo>
                    <a:pt x="137" y="106"/>
                    <a:pt x="169" y="106"/>
                    <a:pt x="224" y="106"/>
                  </a:cubicBezTo>
                  <a:cubicBezTo>
                    <a:pt x="278" y="106"/>
                    <a:pt x="261" y="0"/>
                    <a:pt x="261" y="0"/>
                  </a:cubicBezTo>
                  <a:close/>
                </a:path>
              </a:pathLst>
            </a:custGeom>
            <a:solidFill>
              <a:srgbClr val="7FA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4" name="íṣľîḋê">
              <a:extLst>
                <a:ext uri="{FF2B5EF4-FFF2-40B4-BE49-F238E27FC236}">
                  <a16:creationId xmlns:a16="http://schemas.microsoft.com/office/drawing/2014/main" id="{549F55AC-2A9D-40C8-8F46-78C966AC7296}"/>
                </a:ext>
              </a:extLst>
            </p:cNvPr>
            <p:cNvSpPr/>
            <p:nvPr/>
          </p:nvSpPr>
          <p:spPr bwMode="auto">
            <a:xfrm>
              <a:off x="6537325" y="5284788"/>
              <a:ext cx="268288" cy="227013"/>
            </a:xfrm>
            <a:custGeom>
              <a:avLst/>
              <a:gdLst>
                <a:gd name="T0" fmla="*/ 70 w 81"/>
                <a:gd name="T1" fmla="*/ 0 h 69"/>
                <a:gd name="T2" fmla="*/ 2 w 81"/>
                <a:gd name="T3" fmla="*/ 38 h 69"/>
                <a:gd name="T4" fmla="*/ 81 w 81"/>
                <a:gd name="T5" fmla="*/ 63 h 69"/>
                <a:gd name="T6" fmla="*/ 70 w 81"/>
                <a:gd name="T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" h="69">
                  <a:moveTo>
                    <a:pt x="70" y="0"/>
                  </a:moveTo>
                  <a:cubicBezTo>
                    <a:pt x="70" y="0"/>
                    <a:pt x="0" y="8"/>
                    <a:pt x="2" y="38"/>
                  </a:cubicBezTo>
                  <a:cubicBezTo>
                    <a:pt x="3" y="69"/>
                    <a:pt x="81" y="63"/>
                    <a:pt x="81" y="63"/>
                  </a:cubicBezTo>
                  <a:lnTo>
                    <a:pt x="70" y="0"/>
                  </a:lnTo>
                  <a:close/>
                </a:path>
              </a:pathLst>
            </a:custGeom>
            <a:solidFill>
              <a:srgbClr val="2426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5" name="ïšḷïďé">
              <a:extLst>
                <a:ext uri="{FF2B5EF4-FFF2-40B4-BE49-F238E27FC236}">
                  <a16:creationId xmlns:a16="http://schemas.microsoft.com/office/drawing/2014/main" id="{89180D5C-339E-4157-B41C-F81AB8A88092}"/>
                </a:ext>
              </a:extLst>
            </p:cNvPr>
            <p:cNvSpPr/>
            <p:nvPr/>
          </p:nvSpPr>
          <p:spPr bwMode="auto">
            <a:xfrm>
              <a:off x="6732588" y="4795838"/>
              <a:ext cx="1787525" cy="712788"/>
            </a:xfrm>
            <a:custGeom>
              <a:avLst/>
              <a:gdLst>
                <a:gd name="T0" fmla="*/ 0 w 542"/>
                <a:gd name="T1" fmla="*/ 147 h 216"/>
                <a:gd name="T2" fmla="*/ 511 w 542"/>
                <a:gd name="T3" fmla="*/ 101 h 216"/>
                <a:gd name="T4" fmla="*/ 8 w 542"/>
                <a:gd name="T5" fmla="*/ 216 h 216"/>
                <a:gd name="T6" fmla="*/ 0 w 542"/>
                <a:gd name="T7" fmla="*/ 14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2" h="216">
                  <a:moveTo>
                    <a:pt x="0" y="147"/>
                  </a:moveTo>
                  <a:cubicBezTo>
                    <a:pt x="0" y="147"/>
                    <a:pt x="480" y="0"/>
                    <a:pt x="511" y="101"/>
                  </a:cubicBezTo>
                  <a:cubicBezTo>
                    <a:pt x="542" y="201"/>
                    <a:pt x="8" y="216"/>
                    <a:pt x="8" y="216"/>
                  </a:cubicBezTo>
                  <a:lnTo>
                    <a:pt x="0" y="147"/>
                  </a:lnTo>
                  <a:close/>
                </a:path>
              </a:pathLst>
            </a:custGeom>
            <a:solidFill>
              <a:srgbClr val="5EA0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6" name="ïṧ1ïḋê">
              <a:extLst>
                <a:ext uri="{FF2B5EF4-FFF2-40B4-BE49-F238E27FC236}">
                  <a16:creationId xmlns:a16="http://schemas.microsoft.com/office/drawing/2014/main" id="{326E0E9F-878F-414C-83B7-23402D56898A}"/>
                </a:ext>
              </a:extLst>
            </p:cNvPr>
            <p:cNvSpPr/>
            <p:nvPr/>
          </p:nvSpPr>
          <p:spPr bwMode="auto">
            <a:xfrm>
              <a:off x="8266113" y="5330825"/>
              <a:ext cx="280988" cy="239713"/>
            </a:xfrm>
            <a:custGeom>
              <a:avLst/>
              <a:gdLst>
                <a:gd name="T0" fmla="*/ 15 w 85"/>
                <a:gd name="T1" fmla="*/ 0 h 73"/>
                <a:gd name="T2" fmla="*/ 81 w 85"/>
                <a:gd name="T3" fmla="*/ 43 h 73"/>
                <a:gd name="T4" fmla="*/ 0 w 85"/>
                <a:gd name="T5" fmla="*/ 62 h 73"/>
                <a:gd name="T6" fmla="*/ 15 w 85"/>
                <a:gd name="T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5" h="73">
                  <a:moveTo>
                    <a:pt x="15" y="0"/>
                  </a:moveTo>
                  <a:cubicBezTo>
                    <a:pt x="15" y="0"/>
                    <a:pt x="85" y="13"/>
                    <a:pt x="81" y="43"/>
                  </a:cubicBezTo>
                  <a:cubicBezTo>
                    <a:pt x="77" y="73"/>
                    <a:pt x="0" y="62"/>
                    <a:pt x="0" y="62"/>
                  </a:cubicBezTo>
                  <a:lnTo>
                    <a:pt x="15" y="0"/>
                  </a:lnTo>
                  <a:close/>
                </a:path>
              </a:pathLst>
            </a:custGeom>
            <a:solidFill>
              <a:srgbClr val="2426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7" name="ï$lïḓê">
              <a:extLst>
                <a:ext uri="{FF2B5EF4-FFF2-40B4-BE49-F238E27FC236}">
                  <a16:creationId xmlns:a16="http://schemas.microsoft.com/office/drawing/2014/main" id="{7C3F4623-5673-4161-9C94-BA57E578F214}"/>
                </a:ext>
              </a:extLst>
            </p:cNvPr>
            <p:cNvSpPr/>
            <p:nvPr/>
          </p:nvSpPr>
          <p:spPr bwMode="auto">
            <a:xfrm>
              <a:off x="6557963" y="4730750"/>
              <a:ext cx="1793875" cy="823913"/>
            </a:xfrm>
            <a:custGeom>
              <a:avLst/>
              <a:gdLst>
                <a:gd name="T0" fmla="*/ 544 w 544"/>
                <a:gd name="T1" fmla="*/ 182 h 250"/>
                <a:gd name="T2" fmla="*/ 38 w 544"/>
                <a:gd name="T3" fmla="*/ 99 h 250"/>
                <a:gd name="T4" fmla="*/ 532 w 544"/>
                <a:gd name="T5" fmla="*/ 250 h 250"/>
                <a:gd name="T6" fmla="*/ 544 w 544"/>
                <a:gd name="T7" fmla="*/ 182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250">
                  <a:moveTo>
                    <a:pt x="544" y="182"/>
                  </a:moveTo>
                  <a:cubicBezTo>
                    <a:pt x="544" y="182"/>
                    <a:pt x="77" y="0"/>
                    <a:pt x="38" y="99"/>
                  </a:cubicBezTo>
                  <a:cubicBezTo>
                    <a:pt x="0" y="197"/>
                    <a:pt x="532" y="250"/>
                    <a:pt x="532" y="250"/>
                  </a:cubicBezTo>
                  <a:lnTo>
                    <a:pt x="544" y="182"/>
                  </a:lnTo>
                  <a:close/>
                </a:path>
              </a:pathLst>
            </a:custGeom>
            <a:solidFill>
              <a:srgbClr val="70B6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8" name="ïŝḷïdê">
              <a:extLst>
                <a:ext uri="{FF2B5EF4-FFF2-40B4-BE49-F238E27FC236}">
                  <a16:creationId xmlns:a16="http://schemas.microsoft.com/office/drawing/2014/main" id="{E6CA29B2-D56A-43EB-80CC-A6DCCB2EC44F}"/>
                </a:ext>
              </a:extLst>
            </p:cNvPr>
            <p:cNvSpPr/>
            <p:nvPr/>
          </p:nvSpPr>
          <p:spPr bwMode="auto">
            <a:xfrm>
              <a:off x="7115175" y="3198813"/>
              <a:ext cx="854075" cy="385763"/>
            </a:xfrm>
            <a:custGeom>
              <a:avLst/>
              <a:gdLst>
                <a:gd name="T0" fmla="*/ 43 w 259"/>
                <a:gd name="T1" fmla="*/ 117 h 117"/>
                <a:gd name="T2" fmla="*/ 66 w 259"/>
                <a:gd name="T3" fmla="*/ 74 h 117"/>
                <a:gd name="T4" fmla="*/ 135 w 259"/>
                <a:gd name="T5" fmla="*/ 95 h 117"/>
                <a:gd name="T6" fmla="*/ 119 w 259"/>
                <a:gd name="T7" fmla="*/ 64 h 117"/>
                <a:gd name="T8" fmla="*/ 220 w 259"/>
                <a:gd name="T9" fmla="*/ 113 h 117"/>
                <a:gd name="T10" fmla="*/ 230 w 259"/>
                <a:gd name="T11" fmla="*/ 110 h 117"/>
                <a:gd name="T12" fmla="*/ 129 w 259"/>
                <a:gd name="T13" fmla="*/ 0 h 117"/>
                <a:gd name="T14" fmla="*/ 30 w 259"/>
                <a:gd name="T15" fmla="*/ 112 h 117"/>
                <a:gd name="T16" fmla="*/ 43 w 259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9" h="117">
                  <a:moveTo>
                    <a:pt x="43" y="117"/>
                  </a:moveTo>
                  <a:cubicBezTo>
                    <a:pt x="43" y="117"/>
                    <a:pt x="58" y="84"/>
                    <a:pt x="66" y="74"/>
                  </a:cubicBezTo>
                  <a:cubicBezTo>
                    <a:pt x="66" y="74"/>
                    <a:pt x="92" y="93"/>
                    <a:pt x="135" y="95"/>
                  </a:cubicBezTo>
                  <a:cubicBezTo>
                    <a:pt x="135" y="95"/>
                    <a:pt x="123" y="69"/>
                    <a:pt x="119" y="64"/>
                  </a:cubicBezTo>
                  <a:cubicBezTo>
                    <a:pt x="119" y="64"/>
                    <a:pt x="178" y="110"/>
                    <a:pt x="220" y="113"/>
                  </a:cubicBezTo>
                  <a:cubicBezTo>
                    <a:pt x="230" y="110"/>
                    <a:pt x="230" y="110"/>
                    <a:pt x="230" y="110"/>
                  </a:cubicBezTo>
                  <a:cubicBezTo>
                    <a:pt x="230" y="110"/>
                    <a:pt x="259" y="0"/>
                    <a:pt x="129" y="0"/>
                  </a:cubicBezTo>
                  <a:cubicBezTo>
                    <a:pt x="0" y="0"/>
                    <a:pt x="30" y="112"/>
                    <a:pt x="30" y="112"/>
                  </a:cubicBezTo>
                  <a:lnTo>
                    <a:pt x="43" y="117"/>
                  </a:lnTo>
                  <a:close/>
                </a:path>
              </a:pathLst>
            </a:custGeom>
            <a:solidFill>
              <a:srgbClr val="EA75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9" name="išḻiḓe">
              <a:extLst>
                <a:ext uri="{FF2B5EF4-FFF2-40B4-BE49-F238E27FC236}">
                  <a16:creationId xmlns:a16="http://schemas.microsoft.com/office/drawing/2014/main" id="{ACA3E752-ED98-41C1-BE70-B3D08030925F}"/>
                </a:ext>
              </a:extLst>
            </p:cNvPr>
            <p:cNvSpPr/>
            <p:nvPr/>
          </p:nvSpPr>
          <p:spPr bwMode="auto">
            <a:xfrm>
              <a:off x="7378700" y="3600450"/>
              <a:ext cx="1801813" cy="2058988"/>
            </a:xfrm>
            <a:custGeom>
              <a:avLst/>
              <a:gdLst>
                <a:gd name="T0" fmla="*/ 232 w 546"/>
                <a:gd name="T1" fmla="*/ 409 h 625"/>
                <a:gd name="T2" fmla="*/ 194 w 546"/>
                <a:gd name="T3" fmla="*/ 461 h 625"/>
                <a:gd name="T4" fmla="*/ 127 w 546"/>
                <a:gd name="T5" fmla="*/ 471 h 625"/>
                <a:gd name="T6" fmla="*/ 116 w 546"/>
                <a:gd name="T7" fmla="*/ 404 h 625"/>
                <a:gd name="T8" fmla="*/ 176 w 546"/>
                <a:gd name="T9" fmla="*/ 321 h 625"/>
                <a:gd name="T10" fmla="*/ 178 w 546"/>
                <a:gd name="T11" fmla="*/ 320 h 625"/>
                <a:gd name="T12" fmla="*/ 179 w 546"/>
                <a:gd name="T13" fmla="*/ 318 h 625"/>
                <a:gd name="T14" fmla="*/ 246 w 546"/>
                <a:gd name="T15" fmla="*/ 307 h 625"/>
                <a:gd name="T16" fmla="*/ 402 w 546"/>
                <a:gd name="T17" fmla="*/ 284 h 625"/>
                <a:gd name="T18" fmla="*/ 376 w 546"/>
                <a:gd name="T19" fmla="*/ 129 h 625"/>
                <a:gd name="T20" fmla="*/ 268 w 546"/>
                <a:gd name="T21" fmla="*/ 117 h 625"/>
                <a:gd name="T22" fmla="*/ 203 w 546"/>
                <a:gd name="T23" fmla="*/ 92 h 625"/>
                <a:gd name="T24" fmla="*/ 228 w 546"/>
                <a:gd name="T25" fmla="*/ 29 h 625"/>
                <a:gd name="T26" fmla="*/ 433 w 546"/>
                <a:gd name="T27" fmla="*/ 51 h 625"/>
                <a:gd name="T28" fmla="*/ 479 w 546"/>
                <a:gd name="T29" fmla="*/ 341 h 625"/>
                <a:gd name="T30" fmla="*/ 232 w 546"/>
                <a:gd name="T31" fmla="*/ 409 h 625"/>
                <a:gd name="T32" fmla="*/ 105 w 546"/>
                <a:gd name="T33" fmla="*/ 583 h 625"/>
                <a:gd name="T34" fmla="*/ 94 w 546"/>
                <a:gd name="T35" fmla="*/ 598 h 625"/>
                <a:gd name="T36" fmla="*/ 27 w 546"/>
                <a:gd name="T37" fmla="*/ 608 h 625"/>
                <a:gd name="T38" fmla="*/ 16 w 546"/>
                <a:gd name="T39" fmla="*/ 541 h 625"/>
                <a:gd name="T40" fmla="*/ 27 w 546"/>
                <a:gd name="T41" fmla="*/ 527 h 625"/>
                <a:gd name="T42" fmla="*/ 94 w 546"/>
                <a:gd name="T43" fmla="*/ 516 h 625"/>
                <a:gd name="T44" fmla="*/ 105 w 546"/>
                <a:gd name="T45" fmla="*/ 583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6" h="625">
                  <a:moveTo>
                    <a:pt x="232" y="409"/>
                  </a:moveTo>
                  <a:cubicBezTo>
                    <a:pt x="194" y="461"/>
                    <a:pt x="194" y="461"/>
                    <a:pt x="194" y="461"/>
                  </a:cubicBezTo>
                  <a:cubicBezTo>
                    <a:pt x="178" y="483"/>
                    <a:pt x="149" y="488"/>
                    <a:pt x="127" y="471"/>
                  </a:cubicBezTo>
                  <a:cubicBezTo>
                    <a:pt x="106" y="456"/>
                    <a:pt x="100" y="426"/>
                    <a:pt x="116" y="404"/>
                  </a:cubicBezTo>
                  <a:cubicBezTo>
                    <a:pt x="176" y="321"/>
                    <a:pt x="176" y="321"/>
                    <a:pt x="176" y="321"/>
                  </a:cubicBezTo>
                  <a:cubicBezTo>
                    <a:pt x="177" y="320"/>
                    <a:pt x="178" y="321"/>
                    <a:pt x="178" y="320"/>
                  </a:cubicBezTo>
                  <a:cubicBezTo>
                    <a:pt x="178" y="319"/>
                    <a:pt x="178" y="319"/>
                    <a:pt x="179" y="318"/>
                  </a:cubicBezTo>
                  <a:cubicBezTo>
                    <a:pt x="194" y="297"/>
                    <a:pt x="225" y="292"/>
                    <a:pt x="246" y="307"/>
                  </a:cubicBezTo>
                  <a:cubicBezTo>
                    <a:pt x="296" y="344"/>
                    <a:pt x="366" y="334"/>
                    <a:pt x="402" y="284"/>
                  </a:cubicBezTo>
                  <a:cubicBezTo>
                    <a:pt x="438" y="234"/>
                    <a:pt x="426" y="165"/>
                    <a:pt x="376" y="129"/>
                  </a:cubicBezTo>
                  <a:cubicBezTo>
                    <a:pt x="343" y="105"/>
                    <a:pt x="302" y="102"/>
                    <a:pt x="268" y="117"/>
                  </a:cubicBezTo>
                  <a:cubicBezTo>
                    <a:pt x="243" y="128"/>
                    <a:pt x="214" y="117"/>
                    <a:pt x="203" y="92"/>
                  </a:cubicBezTo>
                  <a:cubicBezTo>
                    <a:pt x="193" y="67"/>
                    <a:pt x="203" y="40"/>
                    <a:pt x="228" y="29"/>
                  </a:cubicBezTo>
                  <a:cubicBezTo>
                    <a:pt x="293" y="0"/>
                    <a:pt x="372" y="6"/>
                    <a:pt x="433" y="51"/>
                  </a:cubicBezTo>
                  <a:cubicBezTo>
                    <a:pt x="525" y="118"/>
                    <a:pt x="546" y="248"/>
                    <a:pt x="479" y="341"/>
                  </a:cubicBezTo>
                  <a:cubicBezTo>
                    <a:pt x="422" y="419"/>
                    <a:pt x="319" y="445"/>
                    <a:pt x="232" y="409"/>
                  </a:cubicBezTo>
                  <a:close/>
                  <a:moveTo>
                    <a:pt x="105" y="583"/>
                  </a:moveTo>
                  <a:cubicBezTo>
                    <a:pt x="94" y="598"/>
                    <a:pt x="94" y="598"/>
                    <a:pt x="94" y="598"/>
                  </a:cubicBezTo>
                  <a:cubicBezTo>
                    <a:pt x="78" y="620"/>
                    <a:pt x="49" y="625"/>
                    <a:pt x="27" y="608"/>
                  </a:cubicBezTo>
                  <a:cubicBezTo>
                    <a:pt x="6" y="593"/>
                    <a:pt x="0" y="563"/>
                    <a:pt x="16" y="541"/>
                  </a:cubicBezTo>
                  <a:cubicBezTo>
                    <a:pt x="27" y="527"/>
                    <a:pt x="27" y="527"/>
                    <a:pt x="27" y="527"/>
                  </a:cubicBezTo>
                  <a:cubicBezTo>
                    <a:pt x="42" y="505"/>
                    <a:pt x="73" y="501"/>
                    <a:pt x="94" y="516"/>
                  </a:cubicBezTo>
                  <a:cubicBezTo>
                    <a:pt x="116" y="532"/>
                    <a:pt x="120" y="562"/>
                    <a:pt x="105" y="583"/>
                  </a:cubicBezTo>
                  <a:close/>
                </a:path>
              </a:pathLst>
            </a:custGeom>
            <a:solidFill>
              <a:srgbClr val="F4B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0" name="îšľíḑê">
              <a:extLst>
                <a:ext uri="{FF2B5EF4-FFF2-40B4-BE49-F238E27FC236}">
                  <a16:creationId xmlns:a16="http://schemas.microsoft.com/office/drawing/2014/main" id="{CD62E3C7-C3ED-486D-AB15-63ECC72389CC}"/>
                </a:ext>
              </a:extLst>
            </p:cNvPr>
            <p:cNvSpPr/>
            <p:nvPr/>
          </p:nvSpPr>
          <p:spPr bwMode="auto">
            <a:xfrm>
              <a:off x="7310438" y="3551238"/>
              <a:ext cx="1800225" cy="2055813"/>
            </a:xfrm>
            <a:custGeom>
              <a:avLst/>
              <a:gdLst>
                <a:gd name="T0" fmla="*/ 231 w 546"/>
                <a:gd name="T1" fmla="*/ 408 h 624"/>
                <a:gd name="T2" fmla="*/ 194 w 546"/>
                <a:gd name="T3" fmla="*/ 460 h 624"/>
                <a:gd name="T4" fmla="*/ 126 w 546"/>
                <a:gd name="T5" fmla="*/ 471 h 624"/>
                <a:gd name="T6" fmla="*/ 116 w 546"/>
                <a:gd name="T7" fmla="*/ 403 h 624"/>
                <a:gd name="T8" fmla="*/ 176 w 546"/>
                <a:gd name="T9" fmla="*/ 321 h 624"/>
                <a:gd name="T10" fmla="*/ 178 w 546"/>
                <a:gd name="T11" fmla="*/ 320 h 624"/>
                <a:gd name="T12" fmla="*/ 178 w 546"/>
                <a:gd name="T13" fmla="*/ 317 h 624"/>
                <a:gd name="T14" fmla="*/ 246 w 546"/>
                <a:gd name="T15" fmla="*/ 307 h 624"/>
                <a:gd name="T16" fmla="*/ 402 w 546"/>
                <a:gd name="T17" fmla="*/ 284 h 624"/>
                <a:gd name="T18" fmla="*/ 376 w 546"/>
                <a:gd name="T19" fmla="*/ 128 h 624"/>
                <a:gd name="T20" fmla="*/ 267 w 546"/>
                <a:gd name="T21" fmla="*/ 116 h 624"/>
                <a:gd name="T22" fmla="*/ 203 w 546"/>
                <a:gd name="T23" fmla="*/ 91 h 624"/>
                <a:gd name="T24" fmla="*/ 228 w 546"/>
                <a:gd name="T25" fmla="*/ 28 h 624"/>
                <a:gd name="T26" fmla="*/ 433 w 546"/>
                <a:gd name="T27" fmla="*/ 50 h 624"/>
                <a:gd name="T28" fmla="*/ 479 w 546"/>
                <a:gd name="T29" fmla="*/ 340 h 624"/>
                <a:gd name="T30" fmla="*/ 231 w 546"/>
                <a:gd name="T31" fmla="*/ 408 h 624"/>
                <a:gd name="T32" fmla="*/ 104 w 546"/>
                <a:gd name="T33" fmla="*/ 583 h 624"/>
                <a:gd name="T34" fmla="*/ 94 w 546"/>
                <a:gd name="T35" fmla="*/ 597 h 624"/>
                <a:gd name="T36" fmla="*/ 26 w 546"/>
                <a:gd name="T37" fmla="*/ 608 h 624"/>
                <a:gd name="T38" fmla="*/ 16 w 546"/>
                <a:gd name="T39" fmla="*/ 540 h 624"/>
                <a:gd name="T40" fmla="*/ 26 w 546"/>
                <a:gd name="T41" fmla="*/ 526 h 624"/>
                <a:gd name="T42" fmla="*/ 94 w 546"/>
                <a:gd name="T43" fmla="*/ 515 h 624"/>
                <a:gd name="T44" fmla="*/ 104 w 546"/>
                <a:gd name="T45" fmla="*/ 583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6" h="624">
                  <a:moveTo>
                    <a:pt x="231" y="408"/>
                  </a:moveTo>
                  <a:cubicBezTo>
                    <a:pt x="194" y="460"/>
                    <a:pt x="194" y="460"/>
                    <a:pt x="194" y="460"/>
                  </a:cubicBezTo>
                  <a:cubicBezTo>
                    <a:pt x="177" y="482"/>
                    <a:pt x="149" y="487"/>
                    <a:pt x="126" y="471"/>
                  </a:cubicBezTo>
                  <a:cubicBezTo>
                    <a:pt x="106" y="456"/>
                    <a:pt x="99" y="426"/>
                    <a:pt x="116" y="403"/>
                  </a:cubicBezTo>
                  <a:cubicBezTo>
                    <a:pt x="176" y="321"/>
                    <a:pt x="176" y="321"/>
                    <a:pt x="176" y="321"/>
                  </a:cubicBezTo>
                  <a:cubicBezTo>
                    <a:pt x="177" y="320"/>
                    <a:pt x="177" y="320"/>
                    <a:pt x="178" y="320"/>
                  </a:cubicBezTo>
                  <a:cubicBezTo>
                    <a:pt x="178" y="318"/>
                    <a:pt x="178" y="318"/>
                    <a:pt x="178" y="317"/>
                  </a:cubicBezTo>
                  <a:cubicBezTo>
                    <a:pt x="193" y="297"/>
                    <a:pt x="225" y="292"/>
                    <a:pt x="246" y="307"/>
                  </a:cubicBezTo>
                  <a:cubicBezTo>
                    <a:pt x="296" y="343"/>
                    <a:pt x="366" y="333"/>
                    <a:pt x="402" y="284"/>
                  </a:cubicBezTo>
                  <a:cubicBezTo>
                    <a:pt x="438" y="234"/>
                    <a:pt x="426" y="165"/>
                    <a:pt x="376" y="128"/>
                  </a:cubicBezTo>
                  <a:cubicBezTo>
                    <a:pt x="343" y="105"/>
                    <a:pt x="302" y="101"/>
                    <a:pt x="267" y="116"/>
                  </a:cubicBezTo>
                  <a:cubicBezTo>
                    <a:pt x="242" y="127"/>
                    <a:pt x="214" y="116"/>
                    <a:pt x="203" y="91"/>
                  </a:cubicBezTo>
                  <a:cubicBezTo>
                    <a:pt x="193" y="67"/>
                    <a:pt x="203" y="39"/>
                    <a:pt x="228" y="28"/>
                  </a:cubicBezTo>
                  <a:cubicBezTo>
                    <a:pt x="293" y="0"/>
                    <a:pt x="371" y="6"/>
                    <a:pt x="433" y="50"/>
                  </a:cubicBezTo>
                  <a:cubicBezTo>
                    <a:pt x="525" y="118"/>
                    <a:pt x="546" y="248"/>
                    <a:pt x="479" y="340"/>
                  </a:cubicBezTo>
                  <a:cubicBezTo>
                    <a:pt x="421" y="419"/>
                    <a:pt x="318" y="445"/>
                    <a:pt x="231" y="408"/>
                  </a:cubicBezTo>
                  <a:close/>
                  <a:moveTo>
                    <a:pt x="104" y="583"/>
                  </a:moveTo>
                  <a:cubicBezTo>
                    <a:pt x="94" y="597"/>
                    <a:pt x="94" y="597"/>
                    <a:pt x="94" y="597"/>
                  </a:cubicBezTo>
                  <a:cubicBezTo>
                    <a:pt x="78" y="619"/>
                    <a:pt x="49" y="624"/>
                    <a:pt x="26" y="608"/>
                  </a:cubicBezTo>
                  <a:cubicBezTo>
                    <a:pt x="6" y="593"/>
                    <a:pt x="0" y="563"/>
                    <a:pt x="16" y="540"/>
                  </a:cubicBezTo>
                  <a:cubicBezTo>
                    <a:pt x="26" y="526"/>
                    <a:pt x="26" y="526"/>
                    <a:pt x="26" y="526"/>
                  </a:cubicBezTo>
                  <a:cubicBezTo>
                    <a:pt x="42" y="504"/>
                    <a:pt x="73" y="500"/>
                    <a:pt x="94" y="515"/>
                  </a:cubicBezTo>
                  <a:cubicBezTo>
                    <a:pt x="116" y="532"/>
                    <a:pt x="120" y="561"/>
                    <a:pt x="104" y="583"/>
                  </a:cubicBezTo>
                  <a:close/>
                </a:path>
              </a:pathLst>
            </a:custGeom>
            <a:solidFill>
              <a:srgbClr val="FFD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1" name="ïŝ1ïdê">
              <a:extLst>
                <a:ext uri="{FF2B5EF4-FFF2-40B4-BE49-F238E27FC236}">
                  <a16:creationId xmlns:a16="http://schemas.microsoft.com/office/drawing/2014/main" id="{6D2D6E61-FA36-413D-AC48-192DB6A39D4F}"/>
                </a:ext>
              </a:extLst>
            </p:cNvPr>
            <p:cNvSpPr/>
            <p:nvPr/>
          </p:nvSpPr>
          <p:spPr bwMode="auto">
            <a:xfrm>
              <a:off x="6931025" y="3998913"/>
              <a:ext cx="220663" cy="369888"/>
            </a:xfrm>
            <a:custGeom>
              <a:avLst/>
              <a:gdLst>
                <a:gd name="T0" fmla="*/ 57 w 67"/>
                <a:gd name="T1" fmla="*/ 0 h 112"/>
                <a:gd name="T2" fmla="*/ 0 w 67"/>
                <a:gd name="T3" fmla="*/ 48 h 112"/>
                <a:gd name="T4" fmla="*/ 67 w 67"/>
                <a:gd name="T5" fmla="*/ 112 h 112"/>
                <a:gd name="T6" fmla="*/ 57 w 67"/>
                <a:gd name="T7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7" h="112">
                  <a:moveTo>
                    <a:pt x="57" y="0"/>
                  </a:moveTo>
                  <a:cubicBezTo>
                    <a:pt x="57" y="0"/>
                    <a:pt x="19" y="11"/>
                    <a:pt x="0" y="48"/>
                  </a:cubicBezTo>
                  <a:cubicBezTo>
                    <a:pt x="67" y="112"/>
                    <a:pt x="67" y="112"/>
                    <a:pt x="67" y="112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FFA9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2" name="ïṣlíḋè">
              <a:extLst>
                <a:ext uri="{FF2B5EF4-FFF2-40B4-BE49-F238E27FC236}">
                  <a16:creationId xmlns:a16="http://schemas.microsoft.com/office/drawing/2014/main" id="{F7982876-06E7-4340-A0D0-78D3B49D3A56}"/>
                </a:ext>
              </a:extLst>
            </p:cNvPr>
            <p:cNvSpPr/>
            <p:nvPr/>
          </p:nvSpPr>
          <p:spPr bwMode="auto">
            <a:xfrm>
              <a:off x="7939088" y="4051300"/>
              <a:ext cx="234950" cy="349250"/>
            </a:xfrm>
            <a:custGeom>
              <a:avLst/>
              <a:gdLst>
                <a:gd name="T0" fmla="*/ 11 w 71"/>
                <a:gd name="T1" fmla="*/ 0 h 106"/>
                <a:gd name="T2" fmla="*/ 71 w 71"/>
                <a:gd name="T3" fmla="*/ 52 h 106"/>
                <a:gd name="T4" fmla="*/ 0 w 71"/>
                <a:gd name="T5" fmla="*/ 106 h 106"/>
                <a:gd name="T6" fmla="*/ 11 w 71"/>
                <a:gd name="T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106">
                  <a:moveTo>
                    <a:pt x="11" y="0"/>
                  </a:moveTo>
                  <a:cubicBezTo>
                    <a:pt x="11" y="0"/>
                    <a:pt x="58" y="24"/>
                    <a:pt x="71" y="52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rgbClr val="FFA9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3" name="îṥḻîḓè">
              <a:extLst>
                <a:ext uri="{FF2B5EF4-FFF2-40B4-BE49-F238E27FC236}">
                  <a16:creationId xmlns:a16="http://schemas.microsoft.com/office/drawing/2014/main" id="{438B213F-F506-45D1-97B5-EB35BDE4F8E1}"/>
                </a:ext>
              </a:extLst>
            </p:cNvPr>
            <p:cNvSpPr/>
            <p:nvPr/>
          </p:nvSpPr>
          <p:spPr bwMode="auto">
            <a:xfrm>
              <a:off x="3668713" y="2147888"/>
              <a:ext cx="1001713" cy="503238"/>
            </a:xfrm>
            <a:custGeom>
              <a:avLst/>
              <a:gdLst>
                <a:gd name="T0" fmla="*/ 304 w 304"/>
                <a:gd name="T1" fmla="*/ 91 h 153"/>
                <a:gd name="T2" fmla="*/ 281 w 304"/>
                <a:gd name="T3" fmla="*/ 61 h 153"/>
                <a:gd name="T4" fmla="*/ 285 w 304"/>
                <a:gd name="T5" fmla="*/ 43 h 153"/>
                <a:gd name="T6" fmla="*/ 241 w 304"/>
                <a:gd name="T7" fmla="*/ 0 h 153"/>
                <a:gd name="T8" fmla="*/ 198 w 304"/>
                <a:gd name="T9" fmla="*/ 43 h 153"/>
                <a:gd name="T10" fmla="*/ 210 w 304"/>
                <a:gd name="T11" fmla="*/ 73 h 153"/>
                <a:gd name="T12" fmla="*/ 208 w 304"/>
                <a:gd name="T13" fmla="*/ 76 h 153"/>
                <a:gd name="T14" fmla="*/ 205 w 304"/>
                <a:gd name="T15" fmla="*/ 76 h 153"/>
                <a:gd name="T16" fmla="*/ 182 w 304"/>
                <a:gd name="T17" fmla="*/ 86 h 153"/>
                <a:gd name="T18" fmla="*/ 172 w 304"/>
                <a:gd name="T19" fmla="*/ 84 h 153"/>
                <a:gd name="T20" fmla="*/ 152 w 304"/>
                <a:gd name="T21" fmla="*/ 92 h 153"/>
                <a:gd name="T22" fmla="*/ 132 w 304"/>
                <a:gd name="T23" fmla="*/ 84 h 153"/>
                <a:gd name="T24" fmla="*/ 122 w 304"/>
                <a:gd name="T25" fmla="*/ 86 h 153"/>
                <a:gd name="T26" fmla="*/ 99 w 304"/>
                <a:gd name="T27" fmla="*/ 76 h 153"/>
                <a:gd name="T28" fmla="*/ 95 w 304"/>
                <a:gd name="T29" fmla="*/ 76 h 153"/>
                <a:gd name="T30" fmla="*/ 94 w 304"/>
                <a:gd name="T31" fmla="*/ 73 h 153"/>
                <a:gd name="T32" fmla="*/ 106 w 304"/>
                <a:gd name="T33" fmla="*/ 43 h 153"/>
                <a:gd name="T34" fmla="*/ 62 w 304"/>
                <a:gd name="T35" fmla="*/ 0 h 153"/>
                <a:gd name="T36" fmla="*/ 18 w 304"/>
                <a:gd name="T37" fmla="*/ 43 h 153"/>
                <a:gd name="T38" fmla="*/ 22 w 304"/>
                <a:gd name="T39" fmla="*/ 61 h 153"/>
                <a:gd name="T40" fmla="*/ 0 w 304"/>
                <a:gd name="T41" fmla="*/ 91 h 153"/>
                <a:gd name="T42" fmla="*/ 25 w 304"/>
                <a:gd name="T43" fmla="*/ 121 h 153"/>
                <a:gd name="T44" fmla="*/ 25 w 304"/>
                <a:gd name="T45" fmla="*/ 122 h 153"/>
                <a:gd name="T46" fmla="*/ 56 w 304"/>
                <a:gd name="T47" fmla="*/ 153 h 153"/>
                <a:gd name="T48" fmla="*/ 85 w 304"/>
                <a:gd name="T49" fmla="*/ 134 h 153"/>
                <a:gd name="T50" fmla="*/ 99 w 304"/>
                <a:gd name="T51" fmla="*/ 138 h 153"/>
                <a:gd name="T52" fmla="*/ 108 w 304"/>
                <a:gd name="T53" fmla="*/ 136 h 153"/>
                <a:gd name="T54" fmla="*/ 132 w 304"/>
                <a:gd name="T55" fmla="*/ 147 h 153"/>
                <a:gd name="T56" fmla="*/ 152 w 304"/>
                <a:gd name="T57" fmla="*/ 139 h 153"/>
                <a:gd name="T58" fmla="*/ 172 w 304"/>
                <a:gd name="T59" fmla="*/ 147 h 153"/>
                <a:gd name="T60" fmla="*/ 195 w 304"/>
                <a:gd name="T61" fmla="*/ 136 h 153"/>
                <a:gd name="T62" fmla="*/ 205 w 304"/>
                <a:gd name="T63" fmla="*/ 138 h 153"/>
                <a:gd name="T64" fmla="*/ 219 w 304"/>
                <a:gd name="T65" fmla="*/ 134 h 153"/>
                <a:gd name="T66" fmla="*/ 248 w 304"/>
                <a:gd name="T67" fmla="*/ 153 h 153"/>
                <a:gd name="T68" fmla="*/ 279 w 304"/>
                <a:gd name="T69" fmla="*/ 122 h 153"/>
                <a:gd name="T70" fmla="*/ 279 w 304"/>
                <a:gd name="T71" fmla="*/ 121 h 153"/>
                <a:gd name="T72" fmla="*/ 304 w 304"/>
                <a:gd name="T73" fmla="*/ 9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04" h="153">
                  <a:moveTo>
                    <a:pt x="304" y="91"/>
                  </a:moveTo>
                  <a:cubicBezTo>
                    <a:pt x="304" y="77"/>
                    <a:pt x="294" y="65"/>
                    <a:pt x="281" y="61"/>
                  </a:cubicBezTo>
                  <a:cubicBezTo>
                    <a:pt x="284" y="56"/>
                    <a:pt x="285" y="50"/>
                    <a:pt x="285" y="43"/>
                  </a:cubicBezTo>
                  <a:cubicBezTo>
                    <a:pt x="285" y="19"/>
                    <a:pt x="266" y="0"/>
                    <a:pt x="241" y="0"/>
                  </a:cubicBezTo>
                  <a:cubicBezTo>
                    <a:pt x="217" y="0"/>
                    <a:pt x="198" y="19"/>
                    <a:pt x="198" y="43"/>
                  </a:cubicBezTo>
                  <a:cubicBezTo>
                    <a:pt x="198" y="55"/>
                    <a:pt x="202" y="65"/>
                    <a:pt x="210" y="73"/>
                  </a:cubicBezTo>
                  <a:cubicBezTo>
                    <a:pt x="209" y="74"/>
                    <a:pt x="209" y="75"/>
                    <a:pt x="208" y="76"/>
                  </a:cubicBezTo>
                  <a:cubicBezTo>
                    <a:pt x="207" y="76"/>
                    <a:pt x="206" y="76"/>
                    <a:pt x="205" y="76"/>
                  </a:cubicBezTo>
                  <a:cubicBezTo>
                    <a:pt x="196" y="76"/>
                    <a:pt x="187" y="80"/>
                    <a:pt x="182" y="86"/>
                  </a:cubicBezTo>
                  <a:cubicBezTo>
                    <a:pt x="179" y="85"/>
                    <a:pt x="175" y="84"/>
                    <a:pt x="172" y="84"/>
                  </a:cubicBezTo>
                  <a:cubicBezTo>
                    <a:pt x="164" y="84"/>
                    <a:pt x="157" y="87"/>
                    <a:pt x="152" y="92"/>
                  </a:cubicBezTo>
                  <a:cubicBezTo>
                    <a:pt x="146" y="87"/>
                    <a:pt x="139" y="84"/>
                    <a:pt x="132" y="84"/>
                  </a:cubicBezTo>
                  <a:cubicBezTo>
                    <a:pt x="128" y="84"/>
                    <a:pt x="125" y="85"/>
                    <a:pt x="122" y="86"/>
                  </a:cubicBezTo>
                  <a:cubicBezTo>
                    <a:pt x="116" y="80"/>
                    <a:pt x="108" y="76"/>
                    <a:pt x="99" y="76"/>
                  </a:cubicBezTo>
                  <a:cubicBezTo>
                    <a:pt x="98" y="76"/>
                    <a:pt x="96" y="76"/>
                    <a:pt x="95" y="76"/>
                  </a:cubicBezTo>
                  <a:cubicBezTo>
                    <a:pt x="95" y="75"/>
                    <a:pt x="95" y="74"/>
                    <a:pt x="94" y="73"/>
                  </a:cubicBezTo>
                  <a:cubicBezTo>
                    <a:pt x="101" y="65"/>
                    <a:pt x="106" y="55"/>
                    <a:pt x="106" y="43"/>
                  </a:cubicBezTo>
                  <a:cubicBezTo>
                    <a:pt x="106" y="19"/>
                    <a:pt x="86" y="0"/>
                    <a:pt x="62" y="0"/>
                  </a:cubicBezTo>
                  <a:cubicBezTo>
                    <a:pt x="38" y="0"/>
                    <a:pt x="18" y="19"/>
                    <a:pt x="18" y="43"/>
                  </a:cubicBezTo>
                  <a:cubicBezTo>
                    <a:pt x="18" y="50"/>
                    <a:pt x="20" y="56"/>
                    <a:pt x="22" y="61"/>
                  </a:cubicBezTo>
                  <a:cubicBezTo>
                    <a:pt x="9" y="65"/>
                    <a:pt x="0" y="77"/>
                    <a:pt x="0" y="91"/>
                  </a:cubicBezTo>
                  <a:cubicBezTo>
                    <a:pt x="0" y="106"/>
                    <a:pt x="11" y="119"/>
                    <a:pt x="25" y="121"/>
                  </a:cubicBezTo>
                  <a:cubicBezTo>
                    <a:pt x="25" y="122"/>
                    <a:pt x="25" y="122"/>
                    <a:pt x="25" y="122"/>
                  </a:cubicBezTo>
                  <a:cubicBezTo>
                    <a:pt x="25" y="139"/>
                    <a:pt x="39" y="153"/>
                    <a:pt x="56" y="153"/>
                  </a:cubicBezTo>
                  <a:cubicBezTo>
                    <a:pt x="69" y="153"/>
                    <a:pt x="80" y="145"/>
                    <a:pt x="85" y="134"/>
                  </a:cubicBezTo>
                  <a:cubicBezTo>
                    <a:pt x="89" y="137"/>
                    <a:pt x="94" y="138"/>
                    <a:pt x="99" y="138"/>
                  </a:cubicBezTo>
                  <a:cubicBezTo>
                    <a:pt x="102" y="138"/>
                    <a:pt x="105" y="137"/>
                    <a:pt x="108" y="136"/>
                  </a:cubicBezTo>
                  <a:cubicBezTo>
                    <a:pt x="114" y="143"/>
                    <a:pt x="122" y="147"/>
                    <a:pt x="132" y="147"/>
                  </a:cubicBezTo>
                  <a:cubicBezTo>
                    <a:pt x="139" y="147"/>
                    <a:pt x="146" y="144"/>
                    <a:pt x="152" y="139"/>
                  </a:cubicBezTo>
                  <a:cubicBezTo>
                    <a:pt x="157" y="144"/>
                    <a:pt x="164" y="147"/>
                    <a:pt x="172" y="147"/>
                  </a:cubicBezTo>
                  <a:cubicBezTo>
                    <a:pt x="181" y="147"/>
                    <a:pt x="190" y="143"/>
                    <a:pt x="195" y="136"/>
                  </a:cubicBezTo>
                  <a:cubicBezTo>
                    <a:pt x="198" y="137"/>
                    <a:pt x="202" y="138"/>
                    <a:pt x="205" y="138"/>
                  </a:cubicBezTo>
                  <a:cubicBezTo>
                    <a:pt x="210" y="138"/>
                    <a:pt x="215" y="137"/>
                    <a:pt x="219" y="134"/>
                  </a:cubicBezTo>
                  <a:cubicBezTo>
                    <a:pt x="224" y="145"/>
                    <a:pt x="235" y="153"/>
                    <a:pt x="248" y="153"/>
                  </a:cubicBezTo>
                  <a:cubicBezTo>
                    <a:pt x="265" y="153"/>
                    <a:pt x="279" y="139"/>
                    <a:pt x="279" y="122"/>
                  </a:cubicBezTo>
                  <a:cubicBezTo>
                    <a:pt x="279" y="122"/>
                    <a:pt x="279" y="122"/>
                    <a:pt x="279" y="121"/>
                  </a:cubicBezTo>
                  <a:cubicBezTo>
                    <a:pt x="293" y="119"/>
                    <a:pt x="304" y="106"/>
                    <a:pt x="304" y="91"/>
                  </a:cubicBezTo>
                  <a:close/>
                </a:path>
              </a:pathLst>
            </a:custGeom>
            <a:solidFill>
              <a:srgbClr val="6825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4" name="íşḷïḓê">
              <a:extLst>
                <a:ext uri="{FF2B5EF4-FFF2-40B4-BE49-F238E27FC236}">
                  <a16:creationId xmlns:a16="http://schemas.microsoft.com/office/drawing/2014/main" id="{2D7104A7-73B7-4180-9CF4-403896933E8C}"/>
                </a:ext>
              </a:extLst>
            </p:cNvPr>
            <p:cNvSpPr/>
            <p:nvPr/>
          </p:nvSpPr>
          <p:spPr bwMode="auto">
            <a:xfrm>
              <a:off x="3995738" y="2436813"/>
              <a:ext cx="339725" cy="363538"/>
            </a:xfrm>
            <a:custGeom>
              <a:avLst/>
              <a:gdLst>
                <a:gd name="T0" fmla="*/ 160 w 214"/>
                <a:gd name="T1" fmla="*/ 0 h 229"/>
                <a:gd name="T2" fmla="*/ 108 w 214"/>
                <a:gd name="T3" fmla="*/ 0 h 229"/>
                <a:gd name="T4" fmla="*/ 54 w 214"/>
                <a:gd name="T5" fmla="*/ 0 h 229"/>
                <a:gd name="T6" fmla="*/ 0 w 214"/>
                <a:gd name="T7" fmla="*/ 137 h 229"/>
                <a:gd name="T8" fmla="*/ 108 w 214"/>
                <a:gd name="T9" fmla="*/ 229 h 229"/>
                <a:gd name="T10" fmla="*/ 214 w 214"/>
                <a:gd name="T11" fmla="*/ 129 h 229"/>
                <a:gd name="T12" fmla="*/ 160 w 214"/>
                <a:gd name="T13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229">
                  <a:moveTo>
                    <a:pt x="160" y="0"/>
                  </a:moveTo>
                  <a:lnTo>
                    <a:pt x="108" y="0"/>
                  </a:lnTo>
                  <a:lnTo>
                    <a:pt x="54" y="0"/>
                  </a:lnTo>
                  <a:lnTo>
                    <a:pt x="0" y="137"/>
                  </a:lnTo>
                  <a:lnTo>
                    <a:pt x="108" y="229"/>
                  </a:lnTo>
                  <a:lnTo>
                    <a:pt x="214" y="129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B27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5" name="îŝ1iḋè">
              <a:extLst>
                <a:ext uri="{FF2B5EF4-FFF2-40B4-BE49-F238E27FC236}">
                  <a16:creationId xmlns:a16="http://schemas.microsoft.com/office/drawing/2014/main" id="{A936FE33-CCAE-4C3A-B728-20B49ED01B66}"/>
                </a:ext>
              </a:extLst>
            </p:cNvPr>
            <p:cNvSpPr/>
            <p:nvPr/>
          </p:nvSpPr>
          <p:spPr bwMode="auto">
            <a:xfrm>
              <a:off x="3879850" y="1768475"/>
              <a:ext cx="682625" cy="796925"/>
            </a:xfrm>
            <a:custGeom>
              <a:avLst/>
              <a:gdLst>
                <a:gd name="T0" fmla="*/ 189 w 207"/>
                <a:gd name="T1" fmla="*/ 132 h 242"/>
                <a:gd name="T2" fmla="*/ 117 w 207"/>
                <a:gd name="T3" fmla="*/ 23 h 242"/>
                <a:gd name="T4" fmla="*/ 11 w 207"/>
                <a:gd name="T5" fmla="*/ 100 h 242"/>
                <a:gd name="T6" fmla="*/ 10 w 207"/>
                <a:gd name="T7" fmla="*/ 181 h 242"/>
                <a:gd name="T8" fmla="*/ 78 w 207"/>
                <a:gd name="T9" fmla="*/ 238 h 242"/>
                <a:gd name="T10" fmla="*/ 161 w 207"/>
                <a:gd name="T11" fmla="*/ 209 h 242"/>
                <a:gd name="T12" fmla="*/ 189 w 207"/>
                <a:gd name="T13" fmla="*/ 13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7" h="242">
                  <a:moveTo>
                    <a:pt x="189" y="132"/>
                  </a:moveTo>
                  <a:cubicBezTo>
                    <a:pt x="207" y="35"/>
                    <a:pt x="117" y="23"/>
                    <a:pt x="117" y="23"/>
                  </a:cubicBezTo>
                  <a:cubicBezTo>
                    <a:pt x="117" y="23"/>
                    <a:pt x="29" y="0"/>
                    <a:pt x="11" y="100"/>
                  </a:cubicBezTo>
                  <a:cubicBezTo>
                    <a:pt x="11" y="100"/>
                    <a:pt x="0" y="157"/>
                    <a:pt x="10" y="181"/>
                  </a:cubicBezTo>
                  <a:cubicBezTo>
                    <a:pt x="23" y="213"/>
                    <a:pt x="54" y="233"/>
                    <a:pt x="78" y="238"/>
                  </a:cubicBezTo>
                  <a:cubicBezTo>
                    <a:pt x="101" y="242"/>
                    <a:pt x="137" y="235"/>
                    <a:pt x="161" y="209"/>
                  </a:cubicBezTo>
                  <a:cubicBezTo>
                    <a:pt x="179" y="188"/>
                    <a:pt x="189" y="132"/>
                    <a:pt x="189" y="132"/>
                  </a:cubicBezTo>
                  <a:close/>
                </a:path>
              </a:pathLst>
            </a:custGeom>
            <a:solidFill>
              <a:srgbClr val="B27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6" name="íṣļíde">
              <a:extLst>
                <a:ext uri="{FF2B5EF4-FFF2-40B4-BE49-F238E27FC236}">
                  <a16:creationId xmlns:a16="http://schemas.microsoft.com/office/drawing/2014/main" id="{60A4DE47-B720-49E2-83BE-9CDE478CD9E3}"/>
                </a:ext>
              </a:extLst>
            </p:cNvPr>
            <p:cNvSpPr/>
            <p:nvPr/>
          </p:nvSpPr>
          <p:spPr bwMode="auto">
            <a:xfrm>
              <a:off x="4456113" y="2206625"/>
              <a:ext cx="88900" cy="168275"/>
            </a:xfrm>
            <a:custGeom>
              <a:avLst/>
              <a:gdLst>
                <a:gd name="T0" fmla="*/ 10 w 27"/>
                <a:gd name="T1" fmla="*/ 11 h 51"/>
                <a:gd name="T2" fmla="*/ 22 w 27"/>
                <a:gd name="T3" fmla="*/ 9 h 51"/>
                <a:gd name="T4" fmla="*/ 0 w 27"/>
                <a:gd name="T5" fmla="*/ 47 h 51"/>
                <a:gd name="T6" fmla="*/ 10 w 27"/>
                <a:gd name="T7" fmla="*/ 1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51">
                  <a:moveTo>
                    <a:pt x="10" y="11"/>
                  </a:moveTo>
                  <a:cubicBezTo>
                    <a:pt x="10" y="11"/>
                    <a:pt x="17" y="0"/>
                    <a:pt x="22" y="9"/>
                  </a:cubicBezTo>
                  <a:cubicBezTo>
                    <a:pt x="27" y="18"/>
                    <a:pt x="20" y="51"/>
                    <a:pt x="0" y="47"/>
                  </a:cubicBezTo>
                  <a:cubicBezTo>
                    <a:pt x="0" y="47"/>
                    <a:pt x="8" y="18"/>
                    <a:pt x="10" y="11"/>
                  </a:cubicBezTo>
                  <a:close/>
                </a:path>
              </a:pathLst>
            </a:custGeom>
            <a:solidFill>
              <a:srgbClr val="B27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7" name="ïSļïdé">
              <a:extLst>
                <a:ext uri="{FF2B5EF4-FFF2-40B4-BE49-F238E27FC236}">
                  <a16:creationId xmlns:a16="http://schemas.microsoft.com/office/drawing/2014/main" id="{046F0280-1826-45F2-801C-D064104031DE}"/>
                </a:ext>
              </a:extLst>
            </p:cNvPr>
            <p:cNvSpPr/>
            <p:nvPr/>
          </p:nvSpPr>
          <p:spPr bwMode="auto">
            <a:xfrm>
              <a:off x="4483100" y="2246313"/>
              <a:ext cx="36513" cy="82550"/>
            </a:xfrm>
            <a:custGeom>
              <a:avLst/>
              <a:gdLst>
                <a:gd name="T0" fmla="*/ 0 w 11"/>
                <a:gd name="T1" fmla="*/ 11 h 25"/>
                <a:gd name="T2" fmla="*/ 9 w 11"/>
                <a:gd name="T3" fmla="*/ 6 h 25"/>
                <a:gd name="T4" fmla="*/ 1 w 11"/>
                <a:gd name="T5" fmla="*/ 25 h 25"/>
                <a:gd name="T6" fmla="*/ 0 w 11"/>
                <a:gd name="T7" fmla="*/ 1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5">
                  <a:moveTo>
                    <a:pt x="0" y="11"/>
                  </a:moveTo>
                  <a:cubicBezTo>
                    <a:pt x="0" y="11"/>
                    <a:pt x="6" y="0"/>
                    <a:pt x="9" y="6"/>
                  </a:cubicBezTo>
                  <a:cubicBezTo>
                    <a:pt x="11" y="13"/>
                    <a:pt x="8" y="21"/>
                    <a:pt x="1" y="25"/>
                  </a:cubicBezTo>
                  <a:cubicBezTo>
                    <a:pt x="1" y="25"/>
                    <a:pt x="8" y="4"/>
                    <a:pt x="0" y="11"/>
                  </a:cubicBezTo>
                  <a:close/>
                </a:path>
              </a:pathLst>
            </a:custGeom>
            <a:solidFill>
              <a:srgbClr val="9348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8" name="íṧḷíḍe">
              <a:extLst>
                <a:ext uri="{FF2B5EF4-FFF2-40B4-BE49-F238E27FC236}">
                  <a16:creationId xmlns:a16="http://schemas.microsoft.com/office/drawing/2014/main" id="{64A34528-CE02-47F8-99F6-64FF0FB64BA2}"/>
                </a:ext>
              </a:extLst>
            </p:cNvPr>
            <p:cNvSpPr/>
            <p:nvPr/>
          </p:nvSpPr>
          <p:spPr bwMode="auto">
            <a:xfrm>
              <a:off x="3836988" y="2093913"/>
              <a:ext cx="73025" cy="165100"/>
            </a:xfrm>
            <a:custGeom>
              <a:avLst/>
              <a:gdLst>
                <a:gd name="T0" fmla="*/ 22 w 22"/>
                <a:gd name="T1" fmla="*/ 12 h 50"/>
                <a:gd name="T2" fmla="*/ 11 w 22"/>
                <a:gd name="T3" fmla="*/ 6 h 50"/>
                <a:gd name="T4" fmla="*/ 19 w 22"/>
                <a:gd name="T5" fmla="*/ 50 h 50"/>
                <a:gd name="T6" fmla="*/ 22 w 22"/>
                <a:gd name="T7" fmla="*/ 1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50">
                  <a:moveTo>
                    <a:pt x="22" y="12"/>
                  </a:moveTo>
                  <a:cubicBezTo>
                    <a:pt x="22" y="12"/>
                    <a:pt x="19" y="0"/>
                    <a:pt x="11" y="6"/>
                  </a:cubicBezTo>
                  <a:cubicBezTo>
                    <a:pt x="4" y="13"/>
                    <a:pt x="0" y="46"/>
                    <a:pt x="19" y="50"/>
                  </a:cubicBezTo>
                  <a:cubicBezTo>
                    <a:pt x="19" y="50"/>
                    <a:pt x="21" y="20"/>
                    <a:pt x="22" y="12"/>
                  </a:cubicBezTo>
                  <a:close/>
                </a:path>
              </a:pathLst>
            </a:custGeom>
            <a:solidFill>
              <a:srgbClr val="B27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9" name="iS1ïďé">
              <a:extLst>
                <a:ext uri="{FF2B5EF4-FFF2-40B4-BE49-F238E27FC236}">
                  <a16:creationId xmlns:a16="http://schemas.microsoft.com/office/drawing/2014/main" id="{BB42C55B-2DB3-4CDD-B46B-7082C32B6C74}"/>
                </a:ext>
              </a:extLst>
            </p:cNvPr>
            <p:cNvSpPr/>
            <p:nvPr/>
          </p:nvSpPr>
          <p:spPr bwMode="auto">
            <a:xfrm>
              <a:off x="3862388" y="2133600"/>
              <a:ext cx="39688" cy="82550"/>
            </a:xfrm>
            <a:custGeom>
              <a:avLst/>
              <a:gdLst>
                <a:gd name="T0" fmla="*/ 12 w 12"/>
                <a:gd name="T1" fmla="*/ 12 h 25"/>
                <a:gd name="T2" fmla="*/ 5 w 12"/>
                <a:gd name="T3" fmla="*/ 5 h 25"/>
                <a:gd name="T4" fmla="*/ 6 w 12"/>
                <a:gd name="T5" fmla="*/ 25 h 25"/>
                <a:gd name="T6" fmla="*/ 12 w 12"/>
                <a:gd name="T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5">
                  <a:moveTo>
                    <a:pt x="12" y="12"/>
                  </a:moveTo>
                  <a:cubicBezTo>
                    <a:pt x="12" y="12"/>
                    <a:pt x="10" y="0"/>
                    <a:pt x="5" y="5"/>
                  </a:cubicBezTo>
                  <a:cubicBezTo>
                    <a:pt x="0" y="11"/>
                    <a:pt x="1" y="19"/>
                    <a:pt x="6" y="25"/>
                  </a:cubicBezTo>
                  <a:cubicBezTo>
                    <a:pt x="6" y="25"/>
                    <a:pt x="7" y="3"/>
                    <a:pt x="12" y="12"/>
                  </a:cubicBezTo>
                  <a:close/>
                </a:path>
              </a:pathLst>
            </a:custGeom>
            <a:solidFill>
              <a:srgbClr val="9348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0" name="iṧḻidè">
              <a:extLst>
                <a:ext uri="{FF2B5EF4-FFF2-40B4-BE49-F238E27FC236}">
                  <a16:creationId xmlns:a16="http://schemas.microsoft.com/office/drawing/2014/main" id="{43B86B1C-85DA-40C4-821F-80720746D6FE}"/>
                </a:ext>
              </a:extLst>
            </p:cNvPr>
            <p:cNvSpPr/>
            <p:nvPr/>
          </p:nvSpPr>
          <p:spPr bwMode="auto">
            <a:xfrm>
              <a:off x="4143375" y="2295525"/>
              <a:ext cx="73025" cy="52388"/>
            </a:xfrm>
            <a:custGeom>
              <a:avLst/>
              <a:gdLst>
                <a:gd name="T0" fmla="*/ 22 w 22"/>
                <a:gd name="T1" fmla="*/ 10 h 16"/>
                <a:gd name="T2" fmla="*/ 10 w 22"/>
                <a:gd name="T3" fmla="*/ 14 h 16"/>
                <a:gd name="T4" fmla="*/ 1 w 22"/>
                <a:gd name="T5" fmla="*/ 6 h 16"/>
                <a:gd name="T6" fmla="*/ 12 w 22"/>
                <a:gd name="T7" fmla="*/ 1 h 16"/>
                <a:gd name="T8" fmla="*/ 22 w 22"/>
                <a:gd name="T9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6">
                  <a:moveTo>
                    <a:pt x="22" y="10"/>
                  </a:moveTo>
                  <a:cubicBezTo>
                    <a:pt x="21" y="13"/>
                    <a:pt x="16" y="16"/>
                    <a:pt x="10" y="14"/>
                  </a:cubicBezTo>
                  <a:cubicBezTo>
                    <a:pt x="4" y="13"/>
                    <a:pt x="0" y="10"/>
                    <a:pt x="1" y="6"/>
                  </a:cubicBezTo>
                  <a:cubicBezTo>
                    <a:pt x="1" y="2"/>
                    <a:pt x="7" y="0"/>
                    <a:pt x="12" y="1"/>
                  </a:cubicBezTo>
                  <a:cubicBezTo>
                    <a:pt x="18" y="2"/>
                    <a:pt x="22" y="6"/>
                    <a:pt x="22" y="10"/>
                  </a:cubicBezTo>
                  <a:close/>
                </a:path>
              </a:pathLst>
            </a:custGeom>
            <a:solidFill>
              <a:srgbClr val="9348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1" name="ïṧlïďé">
              <a:extLst>
                <a:ext uri="{FF2B5EF4-FFF2-40B4-BE49-F238E27FC236}">
                  <a16:creationId xmlns:a16="http://schemas.microsoft.com/office/drawing/2014/main" id="{1FECF0D2-483D-460B-8A26-7C09A2BCA77C}"/>
                </a:ext>
              </a:extLst>
            </p:cNvPr>
            <p:cNvSpPr/>
            <p:nvPr/>
          </p:nvSpPr>
          <p:spPr bwMode="auto">
            <a:xfrm>
              <a:off x="4330700" y="2225675"/>
              <a:ext cx="63500" cy="79375"/>
            </a:xfrm>
            <a:custGeom>
              <a:avLst/>
              <a:gdLst>
                <a:gd name="T0" fmla="*/ 18 w 19"/>
                <a:gd name="T1" fmla="*/ 14 h 24"/>
                <a:gd name="T2" fmla="*/ 7 w 19"/>
                <a:gd name="T3" fmla="*/ 23 h 24"/>
                <a:gd name="T4" fmla="*/ 1 w 19"/>
                <a:gd name="T5" fmla="*/ 11 h 24"/>
                <a:gd name="T6" fmla="*/ 11 w 19"/>
                <a:gd name="T7" fmla="*/ 1 h 24"/>
                <a:gd name="T8" fmla="*/ 18 w 19"/>
                <a:gd name="T9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4">
                  <a:moveTo>
                    <a:pt x="18" y="14"/>
                  </a:moveTo>
                  <a:cubicBezTo>
                    <a:pt x="16" y="20"/>
                    <a:pt x="12" y="24"/>
                    <a:pt x="7" y="23"/>
                  </a:cubicBezTo>
                  <a:cubicBezTo>
                    <a:pt x="2" y="23"/>
                    <a:pt x="0" y="17"/>
                    <a:pt x="1" y="11"/>
                  </a:cubicBezTo>
                  <a:cubicBezTo>
                    <a:pt x="2" y="5"/>
                    <a:pt x="7" y="0"/>
                    <a:pt x="11" y="1"/>
                  </a:cubicBezTo>
                  <a:cubicBezTo>
                    <a:pt x="16" y="2"/>
                    <a:pt x="19" y="8"/>
                    <a:pt x="18" y="14"/>
                  </a:cubicBezTo>
                  <a:close/>
                </a:path>
              </a:pathLst>
            </a:custGeom>
            <a:solidFill>
              <a:srgbClr val="6C31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2" name="ï$ľïďê">
              <a:extLst>
                <a:ext uri="{FF2B5EF4-FFF2-40B4-BE49-F238E27FC236}">
                  <a16:creationId xmlns:a16="http://schemas.microsoft.com/office/drawing/2014/main" id="{BA49293B-AA61-408E-8BBA-7B27224B98A7}"/>
                </a:ext>
              </a:extLst>
            </p:cNvPr>
            <p:cNvSpPr/>
            <p:nvPr/>
          </p:nvSpPr>
          <p:spPr bwMode="auto">
            <a:xfrm>
              <a:off x="4008438" y="2166938"/>
              <a:ext cx="61913" cy="79375"/>
            </a:xfrm>
            <a:custGeom>
              <a:avLst/>
              <a:gdLst>
                <a:gd name="T0" fmla="*/ 17 w 19"/>
                <a:gd name="T1" fmla="*/ 14 h 24"/>
                <a:gd name="T2" fmla="*/ 7 w 19"/>
                <a:gd name="T3" fmla="*/ 23 h 24"/>
                <a:gd name="T4" fmla="*/ 1 w 19"/>
                <a:gd name="T5" fmla="*/ 11 h 24"/>
                <a:gd name="T6" fmla="*/ 11 w 19"/>
                <a:gd name="T7" fmla="*/ 1 h 24"/>
                <a:gd name="T8" fmla="*/ 17 w 19"/>
                <a:gd name="T9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4">
                  <a:moveTo>
                    <a:pt x="17" y="14"/>
                  </a:moveTo>
                  <a:cubicBezTo>
                    <a:pt x="16" y="20"/>
                    <a:pt x="12" y="24"/>
                    <a:pt x="7" y="23"/>
                  </a:cubicBezTo>
                  <a:cubicBezTo>
                    <a:pt x="2" y="23"/>
                    <a:pt x="0" y="17"/>
                    <a:pt x="1" y="11"/>
                  </a:cubicBezTo>
                  <a:cubicBezTo>
                    <a:pt x="2" y="4"/>
                    <a:pt x="7" y="0"/>
                    <a:pt x="11" y="1"/>
                  </a:cubicBezTo>
                  <a:cubicBezTo>
                    <a:pt x="16" y="2"/>
                    <a:pt x="19" y="8"/>
                    <a:pt x="17" y="14"/>
                  </a:cubicBezTo>
                  <a:close/>
                </a:path>
              </a:pathLst>
            </a:custGeom>
            <a:solidFill>
              <a:srgbClr val="6C31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3" name="ïṩḻiḑê">
              <a:extLst>
                <a:ext uri="{FF2B5EF4-FFF2-40B4-BE49-F238E27FC236}">
                  <a16:creationId xmlns:a16="http://schemas.microsoft.com/office/drawing/2014/main" id="{040A3B76-581C-4C7B-BE11-0418A716448B}"/>
                </a:ext>
              </a:extLst>
            </p:cNvPr>
            <p:cNvSpPr/>
            <p:nvPr/>
          </p:nvSpPr>
          <p:spPr bwMode="auto">
            <a:xfrm>
              <a:off x="4324350" y="2157413"/>
              <a:ext cx="100013" cy="42863"/>
            </a:xfrm>
            <a:custGeom>
              <a:avLst/>
              <a:gdLst>
                <a:gd name="T0" fmla="*/ 0 w 30"/>
                <a:gd name="T1" fmla="*/ 4 h 13"/>
                <a:gd name="T2" fmla="*/ 5 w 30"/>
                <a:gd name="T3" fmla="*/ 1 h 13"/>
                <a:gd name="T4" fmla="*/ 11 w 30"/>
                <a:gd name="T5" fmla="*/ 0 h 13"/>
                <a:gd name="T6" fmla="*/ 17 w 30"/>
                <a:gd name="T7" fmla="*/ 1 h 13"/>
                <a:gd name="T8" fmla="*/ 24 w 30"/>
                <a:gd name="T9" fmla="*/ 4 h 13"/>
                <a:gd name="T10" fmla="*/ 28 w 30"/>
                <a:gd name="T11" fmla="*/ 8 h 13"/>
                <a:gd name="T12" fmla="*/ 30 w 30"/>
                <a:gd name="T13" fmla="*/ 13 h 13"/>
                <a:gd name="T14" fmla="*/ 25 w 30"/>
                <a:gd name="T15" fmla="*/ 11 h 13"/>
                <a:gd name="T16" fmla="*/ 21 w 30"/>
                <a:gd name="T17" fmla="*/ 9 h 13"/>
                <a:gd name="T18" fmla="*/ 18 w 30"/>
                <a:gd name="T19" fmla="*/ 8 h 13"/>
                <a:gd name="T20" fmla="*/ 16 w 30"/>
                <a:gd name="T21" fmla="*/ 7 h 13"/>
                <a:gd name="T22" fmla="*/ 6 w 30"/>
                <a:gd name="T23" fmla="*/ 5 h 13"/>
                <a:gd name="T24" fmla="*/ 0 w 30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13">
                  <a:moveTo>
                    <a:pt x="0" y="4"/>
                  </a:moveTo>
                  <a:cubicBezTo>
                    <a:pt x="0" y="4"/>
                    <a:pt x="2" y="2"/>
                    <a:pt x="5" y="1"/>
                  </a:cubicBezTo>
                  <a:cubicBezTo>
                    <a:pt x="7" y="1"/>
                    <a:pt x="9" y="0"/>
                    <a:pt x="11" y="0"/>
                  </a:cubicBezTo>
                  <a:cubicBezTo>
                    <a:pt x="13" y="0"/>
                    <a:pt x="15" y="1"/>
                    <a:pt x="17" y="1"/>
                  </a:cubicBezTo>
                  <a:cubicBezTo>
                    <a:pt x="20" y="2"/>
                    <a:pt x="22" y="3"/>
                    <a:pt x="24" y="4"/>
                  </a:cubicBezTo>
                  <a:cubicBezTo>
                    <a:pt x="25" y="5"/>
                    <a:pt x="27" y="6"/>
                    <a:pt x="28" y="8"/>
                  </a:cubicBezTo>
                  <a:cubicBezTo>
                    <a:pt x="30" y="10"/>
                    <a:pt x="30" y="13"/>
                    <a:pt x="30" y="13"/>
                  </a:cubicBezTo>
                  <a:cubicBezTo>
                    <a:pt x="30" y="13"/>
                    <a:pt x="28" y="12"/>
                    <a:pt x="25" y="11"/>
                  </a:cubicBezTo>
                  <a:cubicBezTo>
                    <a:pt x="24" y="10"/>
                    <a:pt x="23" y="9"/>
                    <a:pt x="21" y="9"/>
                  </a:cubicBez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8"/>
                    <a:pt x="16" y="7"/>
                  </a:cubicBezTo>
                  <a:cubicBezTo>
                    <a:pt x="12" y="6"/>
                    <a:pt x="9" y="6"/>
                    <a:pt x="6" y="5"/>
                  </a:cubicBezTo>
                  <a:cubicBezTo>
                    <a:pt x="3" y="4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6825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4" name="íślïďè">
              <a:extLst>
                <a:ext uri="{FF2B5EF4-FFF2-40B4-BE49-F238E27FC236}">
                  <a16:creationId xmlns:a16="http://schemas.microsoft.com/office/drawing/2014/main" id="{2102D414-168D-4A28-84FF-DE837E706CE0}"/>
                </a:ext>
              </a:extLst>
            </p:cNvPr>
            <p:cNvSpPr/>
            <p:nvPr/>
          </p:nvSpPr>
          <p:spPr bwMode="auto">
            <a:xfrm>
              <a:off x="3990975" y="2098675"/>
              <a:ext cx="106363" cy="28575"/>
            </a:xfrm>
            <a:custGeom>
              <a:avLst/>
              <a:gdLst>
                <a:gd name="T0" fmla="*/ 32 w 32"/>
                <a:gd name="T1" fmla="*/ 9 h 9"/>
                <a:gd name="T2" fmla="*/ 28 w 32"/>
                <a:gd name="T3" fmla="*/ 5 h 9"/>
                <a:gd name="T4" fmla="*/ 23 w 32"/>
                <a:gd name="T5" fmla="*/ 2 h 9"/>
                <a:gd name="T6" fmla="*/ 17 w 32"/>
                <a:gd name="T7" fmla="*/ 0 h 9"/>
                <a:gd name="T8" fmla="*/ 10 w 32"/>
                <a:gd name="T9" fmla="*/ 1 h 9"/>
                <a:gd name="T10" fmla="*/ 4 w 32"/>
                <a:gd name="T11" fmla="*/ 3 h 9"/>
                <a:gd name="T12" fmla="*/ 0 w 32"/>
                <a:gd name="T13" fmla="*/ 7 h 9"/>
                <a:gd name="T14" fmla="*/ 6 w 32"/>
                <a:gd name="T15" fmla="*/ 6 h 9"/>
                <a:gd name="T16" fmla="*/ 10 w 32"/>
                <a:gd name="T17" fmla="*/ 6 h 9"/>
                <a:gd name="T18" fmla="*/ 13 w 32"/>
                <a:gd name="T19" fmla="*/ 6 h 9"/>
                <a:gd name="T20" fmla="*/ 16 w 32"/>
                <a:gd name="T21" fmla="*/ 7 h 9"/>
                <a:gd name="T22" fmla="*/ 26 w 32"/>
                <a:gd name="T23" fmla="*/ 8 h 9"/>
                <a:gd name="T24" fmla="*/ 32 w 32"/>
                <a:gd name="T2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9">
                  <a:moveTo>
                    <a:pt x="32" y="9"/>
                  </a:moveTo>
                  <a:cubicBezTo>
                    <a:pt x="32" y="9"/>
                    <a:pt x="30" y="7"/>
                    <a:pt x="28" y="5"/>
                  </a:cubicBezTo>
                  <a:cubicBezTo>
                    <a:pt x="26" y="4"/>
                    <a:pt x="25" y="3"/>
                    <a:pt x="23" y="2"/>
                  </a:cubicBezTo>
                  <a:cubicBezTo>
                    <a:pt x="21" y="1"/>
                    <a:pt x="19" y="1"/>
                    <a:pt x="17" y="0"/>
                  </a:cubicBezTo>
                  <a:cubicBezTo>
                    <a:pt x="14" y="0"/>
                    <a:pt x="12" y="0"/>
                    <a:pt x="10" y="1"/>
                  </a:cubicBezTo>
                  <a:cubicBezTo>
                    <a:pt x="8" y="1"/>
                    <a:pt x="6" y="2"/>
                    <a:pt x="4" y="3"/>
                  </a:cubicBezTo>
                  <a:cubicBezTo>
                    <a:pt x="2" y="5"/>
                    <a:pt x="1" y="7"/>
                    <a:pt x="0" y="7"/>
                  </a:cubicBezTo>
                  <a:cubicBezTo>
                    <a:pt x="1" y="7"/>
                    <a:pt x="3" y="7"/>
                    <a:pt x="6" y="6"/>
                  </a:cubicBezTo>
                  <a:cubicBezTo>
                    <a:pt x="7" y="6"/>
                    <a:pt x="9" y="6"/>
                    <a:pt x="10" y="6"/>
                  </a:cubicBezTo>
                  <a:cubicBezTo>
                    <a:pt x="11" y="6"/>
                    <a:pt x="12" y="6"/>
                    <a:pt x="13" y="6"/>
                  </a:cubicBezTo>
                  <a:cubicBezTo>
                    <a:pt x="14" y="6"/>
                    <a:pt x="15" y="7"/>
                    <a:pt x="16" y="7"/>
                  </a:cubicBezTo>
                  <a:cubicBezTo>
                    <a:pt x="19" y="7"/>
                    <a:pt x="23" y="8"/>
                    <a:pt x="26" y="8"/>
                  </a:cubicBezTo>
                  <a:cubicBezTo>
                    <a:pt x="29" y="9"/>
                    <a:pt x="32" y="9"/>
                    <a:pt x="32" y="9"/>
                  </a:cubicBezTo>
                  <a:close/>
                </a:path>
              </a:pathLst>
            </a:custGeom>
            <a:solidFill>
              <a:srgbClr val="6825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5" name="íṩḷïḍè">
              <a:extLst>
                <a:ext uri="{FF2B5EF4-FFF2-40B4-BE49-F238E27FC236}">
                  <a16:creationId xmlns:a16="http://schemas.microsoft.com/office/drawing/2014/main" id="{368B5639-CD8D-4114-8926-09A697ED4C4F}"/>
                </a:ext>
              </a:extLst>
            </p:cNvPr>
            <p:cNvSpPr/>
            <p:nvPr/>
          </p:nvSpPr>
          <p:spPr bwMode="auto">
            <a:xfrm>
              <a:off x="4116388" y="2393950"/>
              <a:ext cx="93663" cy="33338"/>
            </a:xfrm>
            <a:custGeom>
              <a:avLst/>
              <a:gdLst>
                <a:gd name="T0" fmla="*/ 3 w 28"/>
                <a:gd name="T1" fmla="*/ 5 h 10"/>
                <a:gd name="T2" fmla="*/ 24 w 28"/>
                <a:gd name="T3" fmla="*/ 9 h 10"/>
                <a:gd name="T4" fmla="*/ 25 w 28"/>
                <a:gd name="T5" fmla="*/ 4 h 10"/>
                <a:gd name="T6" fmla="*/ 4 w 28"/>
                <a:gd name="T7" fmla="*/ 0 h 10"/>
                <a:gd name="T8" fmla="*/ 3 w 28"/>
                <a:gd name="T9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0">
                  <a:moveTo>
                    <a:pt x="3" y="5"/>
                  </a:moveTo>
                  <a:cubicBezTo>
                    <a:pt x="10" y="6"/>
                    <a:pt x="17" y="8"/>
                    <a:pt x="24" y="9"/>
                  </a:cubicBezTo>
                  <a:cubicBezTo>
                    <a:pt x="28" y="10"/>
                    <a:pt x="28" y="5"/>
                    <a:pt x="25" y="4"/>
                  </a:cubicBezTo>
                  <a:cubicBezTo>
                    <a:pt x="18" y="3"/>
                    <a:pt x="11" y="2"/>
                    <a:pt x="4" y="0"/>
                  </a:cubicBezTo>
                  <a:cubicBezTo>
                    <a:pt x="1" y="0"/>
                    <a:pt x="0" y="5"/>
                    <a:pt x="3" y="5"/>
                  </a:cubicBezTo>
                  <a:close/>
                </a:path>
              </a:pathLst>
            </a:custGeom>
            <a:solidFill>
              <a:srgbClr val="9348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6" name="iŝḻidè">
              <a:extLst>
                <a:ext uri="{FF2B5EF4-FFF2-40B4-BE49-F238E27FC236}">
                  <a16:creationId xmlns:a16="http://schemas.microsoft.com/office/drawing/2014/main" id="{D319B9D4-2130-49DC-8B70-851998059D9E}"/>
                </a:ext>
              </a:extLst>
            </p:cNvPr>
            <p:cNvSpPr/>
            <p:nvPr/>
          </p:nvSpPr>
          <p:spPr bwMode="auto">
            <a:xfrm>
              <a:off x="3867150" y="1768475"/>
              <a:ext cx="708025" cy="487363"/>
            </a:xfrm>
            <a:custGeom>
              <a:avLst/>
              <a:gdLst>
                <a:gd name="T0" fmla="*/ 214 w 215"/>
                <a:gd name="T1" fmla="*/ 105 h 148"/>
                <a:gd name="T2" fmla="*/ 206 w 215"/>
                <a:gd name="T3" fmla="*/ 82 h 148"/>
                <a:gd name="T4" fmla="*/ 207 w 215"/>
                <a:gd name="T5" fmla="*/ 80 h 148"/>
                <a:gd name="T6" fmla="*/ 181 w 215"/>
                <a:gd name="T7" fmla="*/ 41 h 148"/>
                <a:gd name="T8" fmla="*/ 169 w 215"/>
                <a:gd name="T9" fmla="*/ 41 h 148"/>
                <a:gd name="T10" fmla="*/ 145 w 215"/>
                <a:gd name="T11" fmla="*/ 17 h 148"/>
                <a:gd name="T12" fmla="*/ 129 w 215"/>
                <a:gd name="T13" fmla="*/ 20 h 148"/>
                <a:gd name="T14" fmla="*/ 107 w 215"/>
                <a:gd name="T15" fmla="*/ 3 h 148"/>
                <a:gd name="T16" fmla="*/ 72 w 215"/>
                <a:gd name="T17" fmla="*/ 26 h 148"/>
                <a:gd name="T18" fmla="*/ 61 w 215"/>
                <a:gd name="T19" fmla="*/ 21 h 148"/>
                <a:gd name="T20" fmla="*/ 25 w 215"/>
                <a:gd name="T21" fmla="*/ 50 h 148"/>
                <a:gd name="T22" fmla="*/ 25 w 215"/>
                <a:gd name="T23" fmla="*/ 61 h 148"/>
                <a:gd name="T24" fmla="*/ 6 w 215"/>
                <a:gd name="T25" fmla="*/ 80 h 148"/>
                <a:gd name="T26" fmla="*/ 9 w 215"/>
                <a:gd name="T27" fmla="*/ 95 h 148"/>
                <a:gd name="T28" fmla="*/ 1 w 215"/>
                <a:gd name="T29" fmla="*/ 106 h 148"/>
                <a:gd name="T30" fmla="*/ 11 w 215"/>
                <a:gd name="T31" fmla="*/ 122 h 148"/>
                <a:gd name="T32" fmla="*/ 25 w 215"/>
                <a:gd name="T33" fmla="*/ 110 h 148"/>
                <a:gd name="T34" fmla="*/ 25 w 215"/>
                <a:gd name="T35" fmla="*/ 104 h 148"/>
                <a:gd name="T36" fmla="*/ 44 w 215"/>
                <a:gd name="T37" fmla="*/ 88 h 148"/>
                <a:gd name="T38" fmla="*/ 50 w 215"/>
                <a:gd name="T39" fmla="*/ 90 h 148"/>
                <a:gd name="T40" fmla="*/ 72 w 215"/>
                <a:gd name="T41" fmla="*/ 84 h 148"/>
                <a:gd name="T42" fmla="*/ 90 w 215"/>
                <a:gd name="T43" fmla="*/ 99 h 148"/>
                <a:gd name="T44" fmla="*/ 108 w 215"/>
                <a:gd name="T45" fmla="*/ 94 h 148"/>
                <a:gd name="T46" fmla="*/ 128 w 215"/>
                <a:gd name="T47" fmla="*/ 119 h 148"/>
                <a:gd name="T48" fmla="*/ 148 w 215"/>
                <a:gd name="T49" fmla="*/ 112 h 148"/>
                <a:gd name="T50" fmla="*/ 168 w 215"/>
                <a:gd name="T51" fmla="*/ 136 h 148"/>
                <a:gd name="T52" fmla="*/ 176 w 215"/>
                <a:gd name="T53" fmla="*/ 136 h 148"/>
                <a:gd name="T54" fmla="*/ 189 w 215"/>
                <a:gd name="T55" fmla="*/ 147 h 148"/>
                <a:gd name="T56" fmla="*/ 208 w 215"/>
                <a:gd name="T57" fmla="*/ 132 h 148"/>
                <a:gd name="T58" fmla="*/ 206 w 215"/>
                <a:gd name="T59" fmla="*/ 120 h 148"/>
                <a:gd name="T60" fmla="*/ 214 w 215"/>
                <a:gd name="T61" fmla="*/ 105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15" h="148">
                  <a:moveTo>
                    <a:pt x="214" y="105"/>
                  </a:moveTo>
                  <a:cubicBezTo>
                    <a:pt x="215" y="96"/>
                    <a:pt x="212" y="87"/>
                    <a:pt x="206" y="82"/>
                  </a:cubicBezTo>
                  <a:cubicBezTo>
                    <a:pt x="206" y="81"/>
                    <a:pt x="207" y="81"/>
                    <a:pt x="207" y="80"/>
                  </a:cubicBezTo>
                  <a:cubicBezTo>
                    <a:pt x="210" y="61"/>
                    <a:pt x="198" y="43"/>
                    <a:pt x="181" y="41"/>
                  </a:cubicBezTo>
                  <a:cubicBezTo>
                    <a:pt x="177" y="40"/>
                    <a:pt x="173" y="40"/>
                    <a:pt x="169" y="41"/>
                  </a:cubicBezTo>
                  <a:cubicBezTo>
                    <a:pt x="166" y="29"/>
                    <a:pt x="157" y="19"/>
                    <a:pt x="145" y="17"/>
                  </a:cubicBezTo>
                  <a:cubicBezTo>
                    <a:pt x="139" y="17"/>
                    <a:pt x="134" y="17"/>
                    <a:pt x="129" y="20"/>
                  </a:cubicBezTo>
                  <a:cubicBezTo>
                    <a:pt x="124" y="11"/>
                    <a:pt x="116" y="4"/>
                    <a:pt x="107" y="3"/>
                  </a:cubicBezTo>
                  <a:cubicBezTo>
                    <a:pt x="92" y="0"/>
                    <a:pt x="77" y="10"/>
                    <a:pt x="72" y="26"/>
                  </a:cubicBezTo>
                  <a:cubicBezTo>
                    <a:pt x="68" y="24"/>
                    <a:pt x="65" y="22"/>
                    <a:pt x="61" y="21"/>
                  </a:cubicBezTo>
                  <a:cubicBezTo>
                    <a:pt x="44" y="19"/>
                    <a:pt x="28" y="32"/>
                    <a:pt x="25" y="50"/>
                  </a:cubicBezTo>
                  <a:cubicBezTo>
                    <a:pt x="24" y="54"/>
                    <a:pt x="24" y="58"/>
                    <a:pt x="25" y="61"/>
                  </a:cubicBezTo>
                  <a:cubicBezTo>
                    <a:pt x="16" y="62"/>
                    <a:pt x="8" y="70"/>
                    <a:pt x="6" y="80"/>
                  </a:cubicBezTo>
                  <a:cubicBezTo>
                    <a:pt x="5" y="85"/>
                    <a:pt x="7" y="91"/>
                    <a:pt x="9" y="95"/>
                  </a:cubicBezTo>
                  <a:cubicBezTo>
                    <a:pt x="5" y="97"/>
                    <a:pt x="2" y="101"/>
                    <a:pt x="1" y="106"/>
                  </a:cubicBezTo>
                  <a:cubicBezTo>
                    <a:pt x="0" y="114"/>
                    <a:pt x="4" y="121"/>
                    <a:pt x="11" y="122"/>
                  </a:cubicBezTo>
                  <a:cubicBezTo>
                    <a:pt x="18" y="123"/>
                    <a:pt x="24" y="118"/>
                    <a:pt x="25" y="110"/>
                  </a:cubicBezTo>
                  <a:cubicBezTo>
                    <a:pt x="26" y="108"/>
                    <a:pt x="26" y="106"/>
                    <a:pt x="25" y="104"/>
                  </a:cubicBezTo>
                  <a:cubicBezTo>
                    <a:pt x="34" y="104"/>
                    <a:pt x="42" y="98"/>
                    <a:pt x="44" y="88"/>
                  </a:cubicBezTo>
                  <a:cubicBezTo>
                    <a:pt x="46" y="89"/>
                    <a:pt x="48" y="89"/>
                    <a:pt x="50" y="90"/>
                  </a:cubicBezTo>
                  <a:cubicBezTo>
                    <a:pt x="58" y="91"/>
                    <a:pt x="66" y="88"/>
                    <a:pt x="72" y="84"/>
                  </a:cubicBezTo>
                  <a:cubicBezTo>
                    <a:pt x="75" y="91"/>
                    <a:pt x="82" y="97"/>
                    <a:pt x="90" y="99"/>
                  </a:cubicBezTo>
                  <a:cubicBezTo>
                    <a:pt x="97" y="100"/>
                    <a:pt x="103" y="98"/>
                    <a:pt x="108" y="94"/>
                  </a:cubicBezTo>
                  <a:cubicBezTo>
                    <a:pt x="109" y="106"/>
                    <a:pt x="117" y="117"/>
                    <a:pt x="128" y="119"/>
                  </a:cubicBezTo>
                  <a:cubicBezTo>
                    <a:pt x="136" y="120"/>
                    <a:pt x="143" y="117"/>
                    <a:pt x="148" y="112"/>
                  </a:cubicBezTo>
                  <a:cubicBezTo>
                    <a:pt x="149" y="124"/>
                    <a:pt x="157" y="134"/>
                    <a:pt x="168" y="136"/>
                  </a:cubicBezTo>
                  <a:cubicBezTo>
                    <a:pt x="171" y="137"/>
                    <a:pt x="173" y="136"/>
                    <a:pt x="176" y="136"/>
                  </a:cubicBezTo>
                  <a:cubicBezTo>
                    <a:pt x="178" y="142"/>
                    <a:pt x="183" y="146"/>
                    <a:pt x="189" y="147"/>
                  </a:cubicBezTo>
                  <a:cubicBezTo>
                    <a:pt x="198" y="148"/>
                    <a:pt x="206" y="142"/>
                    <a:pt x="208" y="132"/>
                  </a:cubicBezTo>
                  <a:cubicBezTo>
                    <a:pt x="208" y="127"/>
                    <a:pt x="208" y="123"/>
                    <a:pt x="206" y="120"/>
                  </a:cubicBezTo>
                  <a:cubicBezTo>
                    <a:pt x="210" y="116"/>
                    <a:pt x="213" y="111"/>
                    <a:pt x="214" y="105"/>
                  </a:cubicBezTo>
                  <a:close/>
                </a:path>
              </a:pathLst>
            </a:custGeom>
            <a:solidFill>
              <a:srgbClr val="6825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7" name="íṩḻiḑè">
              <a:extLst>
                <a:ext uri="{FF2B5EF4-FFF2-40B4-BE49-F238E27FC236}">
                  <a16:creationId xmlns:a16="http://schemas.microsoft.com/office/drawing/2014/main" id="{F508C255-0AE6-4A65-B3B2-82F733EC1877}"/>
                </a:ext>
              </a:extLst>
            </p:cNvPr>
            <p:cNvSpPr/>
            <p:nvPr/>
          </p:nvSpPr>
          <p:spPr bwMode="auto">
            <a:xfrm>
              <a:off x="3773488" y="2574925"/>
              <a:ext cx="776288" cy="869950"/>
            </a:xfrm>
            <a:custGeom>
              <a:avLst/>
              <a:gdLst>
                <a:gd name="T0" fmla="*/ 235 w 235"/>
                <a:gd name="T1" fmla="*/ 24 h 264"/>
                <a:gd name="T2" fmla="*/ 162 w 235"/>
                <a:gd name="T3" fmla="*/ 0 h 264"/>
                <a:gd name="T4" fmla="*/ 118 w 235"/>
                <a:gd name="T5" fmla="*/ 34 h 264"/>
                <a:gd name="T6" fmla="*/ 118 w 235"/>
                <a:gd name="T7" fmla="*/ 34 h 264"/>
                <a:gd name="T8" fmla="*/ 118 w 235"/>
                <a:gd name="T9" fmla="*/ 34 h 264"/>
                <a:gd name="T10" fmla="*/ 117 w 235"/>
                <a:gd name="T11" fmla="*/ 34 h 264"/>
                <a:gd name="T12" fmla="*/ 117 w 235"/>
                <a:gd name="T13" fmla="*/ 34 h 264"/>
                <a:gd name="T14" fmla="*/ 77 w 235"/>
                <a:gd name="T15" fmla="*/ 0 h 264"/>
                <a:gd name="T16" fmla="*/ 0 w 235"/>
                <a:gd name="T17" fmla="*/ 24 h 264"/>
                <a:gd name="T18" fmla="*/ 10 w 235"/>
                <a:gd name="T19" fmla="*/ 105 h 264"/>
                <a:gd name="T20" fmla="*/ 20 w 235"/>
                <a:gd name="T21" fmla="*/ 159 h 264"/>
                <a:gd name="T22" fmla="*/ 35 w 235"/>
                <a:gd name="T23" fmla="*/ 264 h 264"/>
                <a:gd name="T24" fmla="*/ 200 w 235"/>
                <a:gd name="T25" fmla="*/ 264 h 264"/>
                <a:gd name="T26" fmla="*/ 216 w 235"/>
                <a:gd name="T27" fmla="*/ 159 h 264"/>
                <a:gd name="T28" fmla="*/ 225 w 235"/>
                <a:gd name="T29" fmla="*/ 105 h 264"/>
                <a:gd name="T30" fmla="*/ 235 w 235"/>
                <a:gd name="T31" fmla="*/ 2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5" h="264">
                  <a:moveTo>
                    <a:pt x="235" y="24"/>
                  </a:moveTo>
                  <a:cubicBezTo>
                    <a:pt x="162" y="0"/>
                    <a:pt x="162" y="0"/>
                    <a:pt x="162" y="0"/>
                  </a:cubicBezTo>
                  <a:cubicBezTo>
                    <a:pt x="156" y="26"/>
                    <a:pt x="123" y="34"/>
                    <a:pt x="118" y="34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2" y="34"/>
                    <a:pt x="83" y="26"/>
                    <a:pt x="77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0" y="105"/>
                    <a:pt x="10" y="105"/>
                    <a:pt x="10" y="105"/>
                  </a:cubicBezTo>
                  <a:cubicBezTo>
                    <a:pt x="10" y="105"/>
                    <a:pt x="4" y="136"/>
                    <a:pt x="20" y="159"/>
                  </a:cubicBezTo>
                  <a:cubicBezTo>
                    <a:pt x="35" y="181"/>
                    <a:pt x="35" y="264"/>
                    <a:pt x="35" y="264"/>
                  </a:cubicBezTo>
                  <a:cubicBezTo>
                    <a:pt x="200" y="264"/>
                    <a:pt x="200" y="264"/>
                    <a:pt x="200" y="264"/>
                  </a:cubicBezTo>
                  <a:cubicBezTo>
                    <a:pt x="200" y="264"/>
                    <a:pt x="200" y="181"/>
                    <a:pt x="216" y="159"/>
                  </a:cubicBezTo>
                  <a:cubicBezTo>
                    <a:pt x="231" y="136"/>
                    <a:pt x="225" y="105"/>
                    <a:pt x="225" y="105"/>
                  </a:cubicBezTo>
                  <a:lnTo>
                    <a:pt x="235" y="24"/>
                  </a:lnTo>
                  <a:close/>
                </a:path>
              </a:pathLst>
            </a:custGeom>
            <a:solidFill>
              <a:srgbClr val="F6D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8" name="îslídé">
              <a:extLst>
                <a:ext uri="{FF2B5EF4-FFF2-40B4-BE49-F238E27FC236}">
                  <a16:creationId xmlns:a16="http://schemas.microsoft.com/office/drawing/2014/main" id="{DF7F4213-82BD-4F35-B823-29880DB95CCE}"/>
                </a:ext>
              </a:extLst>
            </p:cNvPr>
            <p:cNvSpPr/>
            <p:nvPr/>
          </p:nvSpPr>
          <p:spPr bwMode="auto">
            <a:xfrm>
              <a:off x="3733800" y="1876425"/>
              <a:ext cx="254000" cy="195263"/>
            </a:xfrm>
            <a:custGeom>
              <a:avLst/>
              <a:gdLst>
                <a:gd name="T0" fmla="*/ 0 w 77"/>
                <a:gd name="T1" fmla="*/ 36 h 59"/>
                <a:gd name="T2" fmla="*/ 67 w 77"/>
                <a:gd name="T3" fmla="*/ 10 h 59"/>
                <a:gd name="T4" fmla="*/ 17 w 77"/>
                <a:gd name="T5" fmla="*/ 59 h 59"/>
                <a:gd name="T6" fmla="*/ 0 w 77"/>
                <a:gd name="T7" fmla="*/ 3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" h="59">
                  <a:moveTo>
                    <a:pt x="0" y="36"/>
                  </a:moveTo>
                  <a:cubicBezTo>
                    <a:pt x="0" y="36"/>
                    <a:pt x="57" y="0"/>
                    <a:pt x="67" y="10"/>
                  </a:cubicBezTo>
                  <a:cubicBezTo>
                    <a:pt x="77" y="19"/>
                    <a:pt x="60" y="37"/>
                    <a:pt x="17" y="59"/>
                  </a:cubicBezTo>
                  <a:lnTo>
                    <a:pt x="0" y="36"/>
                  </a:lnTo>
                  <a:close/>
                </a:path>
              </a:pathLst>
            </a:custGeom>
            <a:solidFill>
              <a:srgbClr val="B27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9" name="ïṧliḓê">
              <a:extLst>
                <a:ext uri="{FF2B5EF4-FFF2-40B4-BE49-F238E27FC236}">
                  <a16:creationId xmlns:a16="http://schemas.microsoft.com/office/drawing/2014/main" id="{BA27F057-EDCB-45AC-9F80-BE0E8C6C5CFA}"/>
                </a:ext>
              </a:extLst>
            </p:cNvPr>
            <p:cNvSpPr/>
            <p:nvPr/>
          </p:nvSpPr>
          <p:spPr bwMode="auto">
            <a:xfrm>
              <a:off x="3209925" y="1933575"/>
              <a:ext cx="642938" cy="922338"/>
            </a:xfrm>
            <a:custGeom>
              <a:avLst/>
              <a:gdLst>
                <a:gd name="T0" fmla="*/ 171 w 195"/>
                <a:gd name="T1" fmla="*/ 219 h 280"/>
                <a:gd name="T2" fmla="*/ 74 w 195"/>
                <a:gd name="T3" fmla="*/ 140 h 280"/>
                <a:gd name="T4" fmla="*/ 195 w 195"/>
                <a:gd name="T5" fmla="*/ 42 h 280"/>
                <a:gd name="T6" fmla="*/ 176 w 195"/>
                <a:gd name="T7" fmla="*/ 0 h 280"/>
                <a:gd name="T8" fmla="*/ 18 w 195"/>
                <a:gd name="T9" fmla="*/ 136 h 280"/>
                <a:gd name="T10" fmla="*/ 179 w 195"/>
                <a:gd name="T11" fmla="*/ 280 h 280"/>
                <a:gd name="T12" fmla="*/ 171 w 195"/>
                <a:gd name="T13" fmla="*/ 219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5" h="280">
                  <a:moveTo>
                    <a:pt x="171" y="219"/>
                  </a:moveTo>
                  <a:cubicBezTo>
                    <a:pt x="171" y="219"/>
                    <a:pt x="78" y="156"/>
                    <a:pt x="74" y="140"/>
                  </a:cubicBezTo>
                  <a:cubicBezTo>
                    <a:pt x="70" y="125"/>
                    <a:pt x="195" y="42"/>
                    <a:pt x="195" y="42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6" y="0"/>
                    <a:pt x="35" y="90"/>
                    <a:pt x="18" y="136"/>
                  </a:cubicBezTo>
                  <a:cubicBezTo>
                    <a:pt x="0" y="182"/>
                    <a:pt x="116" y="272"/>
                    <a:pt x="179" y="280"/>
                  </a:cubicBezTo>
                  <a:lnTo>
                    <a:pt x="171" y="219"/>
                  </a:lnTo>
                  <a:close/>
                </a:path>
              </a:pathLst>
            </a:custGeom>
            <a:solidFill>
              <a:srgbClr val="F6D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0" name="íšḻïḓé">
              <a:extLst>
                <a:ext uri="{FF2B5EF4-FFF2-40B4-BE49-F238E27FC236}">
                  <a16:creationId xmlns:a16="http://schemas.microsoft.com/office/drawing/2014/main" id="{B5D8ED7E-03CE-47B2-9647-A789D5A3CC3E}"/>
                </a:ext>
              </a:extLst>
            </p:cNvPr>
            <p:cNvSpPr/>
            <p:nvPr/>
          </p:nvSpPr>
          <p:spPr bwMode="auto">
            <a:xfrm>
              <a:off x="3952875" y="4213225"/>
              <a:ext cx="174625" cy="1155700"/>
            </a:xfrm>
            <a:custGeom>
              <a:avLst/>
              <a:gdLst>
                <a:gd name="T0" fmla="*/ 103 w 110"/>
                <a:gd name="T1" fmla="*/ 728 h 728"/>
                <a:gd name="T2" fmla="*/ 0 w 110"/>
                <a:gd name="T3" fmla="*/ 728 h 728"/>
                <a:gd name="T4" fmla="*/ 0 w 110"/>
                <a:gd name="T5" fmla="*/ 0 h 728"/>
                <a:gd name="T6" fmla="*/ 110 w 110"/>
                <a:gd name="T7" fmla="*/ 0 h 728"/>
                <a:gd name="T8" fmla="*/ 103 w 110"/>
                <a:gd name="T9" fmla="*/ 728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728">
                  <a:moveTo>
                    <a:pt x="103" y="728"/>
                  </a:moveTo>
                  <a:lnTo>
                    <a:pt x="0" y="728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103" y="728"/>
                  </a:lnTo>
                  <a:close/>
                </a:path>
              </a:pathLst>
            </a:custGeom>
            <a:solidFill>
              <a:srgbClr val="B27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1" name="ïşḷiďe">
              <a:extLst>
                <a:ext uri="{FF2B5EF4-FFF2-40B4-BE49-F238E27FC236}">
                  <a16:creationId xmlns:a16="http://schemas.microsoft.com/office/drawing/2014/main" id="{25CC8AE7-72DB-425E-9ADA-CD1BCEFDE0AF}"/>
                </a:ext>
              </a:extLst>
            </p:cNvPr>
            <p:cNvSpPr/>
            <p:nvPr/>
          </p:nvSpPr>
          <p:spPr bwMode="auto">
            <a:xfrm>
              <a:off x="3773488" y="5356225"/>
              <a:ext cx="366713" cy="141288"/>
            </a:xfrm>
            <a:custGeom>
              <a:avLst/>
              <a:gdLst>
                <a:gd name="T0" fmla="*/ 103 w 111"/>
                <a:gd name="T1" fmla="*/ 0 h 43"/>
                <a:gd name="T2" fmla="*/ 54 w 111"/>
                <a:gd name="T3" fmla="*/ 0 h 43"/>
                <a:gd name="T4" fmla="*/ 0 w 111"/>
                <a:gd name="T5" fmla="*/ 38 h 43"/>
                <a:gd name="T6" fmla="*/ 0 w 111"/>
                <a:gd name="T7" fmla="*/ 43 h 43"/>
                <a:gd name="T8" fmla="*/ 108 w 111"/>
                <a:gd name="T9" fmla="*/ 43 h 43"/>
                <a:gd name="T10" fmla="*/ 103 w 111"/>
                <a:gd name="T1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43">
                  <a:moveTo>
                    <a:pt x="103" y="0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" y="27"/>
                    <a:pt x="0" y="38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08" y="43"/>
                    <a:pt x="108" y="43"/>
                    <a:pt x="108" y="43"/>
                  </a:cubicBezTo>
                  <a:cubicBezTo>
                    <a:pt x="108" y="43"/>
                    <a:pt x="111" y="11"/>
                    <a:pt x="103" y="0"/>
                  </a:cubicBezTo>
                  <a:close/>
                </a:path>
              </a:pathLst>
            </a:custGeom>
            <a:solidFill>
              <a:srgbClr val="2426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2" name="ïṧľîďe">
              <a:extLst>
                <a:ext uri="{FF2B5EF4-FFF2-40B4-BE49-F238E27FC236}">
                  <a16:creationId xmlns:a16="http://schemas.microsoft.com/office/drawing/2014/main" id="{E0E7F113-02C5-422F-B817-80424C2B66F9}"/>
                </a:ext>
              </a:extLst>
            </p:cNvPr>
            <p:cNvSpPr/>
            <p:nvPr/>
          </p:nvSpPr>
          <p:spPr bwMode="auto">
            <a:xfrm>
              <a:off x="3773488" y="5497513"/>
              <a:ext cx="357188" cy="20638"/>
            </a:xfrm>
            <a:prstGeom prst="rect">
              <a:avLst/>
            </a:prstGeom>
            <a:solidFill>
              <a:srgbClr val="3765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3" name="i$ḷïḋê">
              <a:extLst>
                <a:ext uri="{FF2B5EF4-FFF2-40B4-BE49-F238E27FC236}">
                  <a16:creationId xmlns:a16="http://schemas.microsoft.com/office/drawing/2014/main" id="{FDDF0F03-439F-41DC-8E58-8E5EFCE527B4}"/>
                </a:ext>
              </a:extLst>
            </p:cNvPr>
            <p:cNvSpPr/>
            <p:nvPr/>
          </p:nvSpPr>
          <p:spPr bwMode="auto">
            <a:xfrm>
              <a:off x="4195763" y="4213225"/>
              <a:ext cx="174625" cy="1155700"/>
            </a:xfrm>
            <a:custGeom>
              <a:avLst/>
              <a:gdLst>
                <a:gd name="T0" fmla="*/ 7 w 110"/>
                <a:gd name="T1" fmla="*/ 728 h 728"/>
                <a:gd name="T2" fmla="*/ 110 w 110"/>
                <a:gd name="T3" fmla="*/ 728 h 728"/>
                <a:gd name="T4" fmla="*/ 110 w 110"/>
                <a:gd name="T5" fmla="*/ 0 h 728"/>
                <a:gd name="T6" fmla="*/ 0 w 110"/>
                <a:gd name="T7" fmla="*/ 0 h 728"/>
                <a:gd name="T8" fmla="*/ 7 w 110"/>
                <a:gd name="T9" fmla="*/ 728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728">
                  <a:moveTo>
                    <a:pt x="7" y="728"/>
                  </a:moveTo>
                  <a:lnTo>
                    <a:pt x="110" y="728"/>
                  </a:lnTo>
                  <a:lnTo>
                    <a:pt x="110" y="0"/>
                  </a:lnTo>
                  <a:lnTo>
                    <a:pt x="0" y="0"/>
                  </a:lnTo>
                  <a:lnTo>
                    <a:pt x="7" y="728"/>
                  </a:lnTo>
                  <a:close/>
                </a:path>
              </a:pathLst>
            </a:custGeom>
            <a:solidFill>
              <a:srgbClr val="B27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4" name="işľidé">
              <a:extLst>
                <a:ext uri="{FF2B5EF4-FFF2-40B4-BE49-F238E27FC236}">
                  <a16:creationId xmlns:a16="http://schemas.microsoft.com/office/drawing/2014/main" id="{F75BF183-D683-47F5-A0D9-680EEECB076A}"/>
                </a:ext>
              </a:extLst>
            </p:cNvPr>
            <p:cNvSpPr/>
            <p:nvPr/>
          </p:nvSpPr>
          <p:spPr bwMode="auto">
            <a:xfrm>
              <a:off x="4186238" y="5356225"/>
              <a:ext cx="363538" cy="141288"/>
            </a:xfrm>
            <a:custGeom>
              <a:avLst/>
              <a:gdLst>
                <a:gd name="T0" fmla="*/ 7 w 110"/>
                <a:gd name="T1" fmla="*/ 0 h 43"/>
                <a:gd name="T2" fmla="*/ 57 w 110"/>
                <a:gd name="T3" fmla="*/ 0 h 43"/>
                <a:gd name="T4" fmla="*/ 110 w 110"/>
                <a:gd name="T5" fmla="*/ 38 h 43"/>
                <a:gd name="T6" fmla="*/ 110 w 110"/>
                <a:gd name="T7" fmla="*/ 43 h 43"/>
                <a:gd name="T8" fmla="*/ 3 w 110"/>
                <a:gd name="T9" fmla="*/ 43 h 43"/>
                <a:gd name="T10" fmla="*/ 7 w 110"/>
                <a:gd name="T1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0" h="43">
                  <a:moveTo>
                    <a:pt x="7" y="0"/>
                  </a:moveTo>
                  <a:cubicBezTo>
                    <a:pt x="57" y="0"/>
                    <a:pt x="57" y="0"/>
                    <a:pt x="57" y="0"/>
                  </a:cubicBezTo>
                  <a:cubicBezTo>
                    <a:pt x="57" y="0"/>
                    <a:pt x="105" y="27"/>
                    <a:pt x="110" y="38"/>
                  </a:cubicBezTo>
                  <a:cubicBezTo>
                    <a:pt x="110" y="43"/>
                    <a:pt x="110" y="43"/>
                    <a:pt x="110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3"/>
                    <a:pt x="0" y="11"/>
                    <a:pt x="7" y="0"/>
                  </a:cubicBezTo>
                  <a:close/>
                </a:path>
              </a:pathLst>
            </a:custGeom>
            <a:solidFill>
              <a:srgbClr val="2426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5" name="išḻiďe">
              <a:extLst>
                <a:ext uri="{FF2B5EF4-FFF2-40B4-BE49-F238E27FC236}">
                  <a16:creationId xmlns:a16="http://schemas.microsoft.com/office/drawing/2014/main" id="{6570634A-C110-4A1F-A2E4-92BD9A174C15}"/>
                </a:ext>
              </a:extLst>
            </p:cNvPr>
            <p:cNvSpPr/>
            <p:nvPr/>
          </p:nvSpPr>
          <p:spPr bwMode="auto">
            <a:xfrm>
              <a:off x="4195763" y="5497513"/>
              <a:ext cx="354013" cy="20638"/>
            </a:xfrm>
            <a:prstGeom prst="rect">
              <a:avLst/>
            </a:prstGeom>
            <a:solidFill>
              <a:srgbClr val="3765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6" name="íśḷídé">
              <a:extLst>
                <a:ext uri="{FF2B5EF4-FFF2-40B4-BE49-F238E27FC236}">
                  <a16:creationId xmlns:a16="http://schemas.microsoft.com/office/drawing/2014/main" id="{1570CF69-9EE0-4B63-AF96-5C87D37DFC7F}"/>
                </a:ext>
              </a:extLst>
            </p:cNvPr>
            <p:cNvSpPr/>
            <p:nvPr/>
          </p:nvSpPr>
          <p:spPr bwMode="auto">
            <a:xfrm>
              <a:off x="3616325" y="3422650"/>
              <a:ext cx="1090613" cy="803275"/>
            </a:xfrm>
            <a:custGeom>
              <a:avLst/>
              <a:gdLst>
                <a:gd name="T0" fmla="*/ 248 w 331"/>
                <a:gd name="T1" fmla="*/ 0 h 244"/>
                <a:gd name="T2" fmla="*/ 167 w 331"/>
                <a:gd name="T3" fmla="*/ 0 h 244"/>
                <a:gd name="T4" fmla="*/ 164 w 331"/>
                <a:gd name="T5" fmla="*/ 0 h 244"/>
                <a:gd name="T6" fmla="*/ 83 w 331"/>
                <a:gd name="T7" fmla="*/ 0 h 244"/>
                <a:gd name="T8" fmla="*/ 0 w 331"/>
                <a:gd name="T9" fmla="*/ 244 h 244"/>
                <a:gd name="T10" fmla="*/ 331 w 331"/>
                <a:gd name="T11" fmla="*/ 244 h 244"/>
                <a:gd name="T12" fmla="*/ 248 w 331"/>
                <a:gd name="T13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1" h="244">
                  <a:moveTo>
                    <a:pt x="248" y="0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5" y="99"/>
                    <a:pt x="0" y="244"/>
                    <a:pt x="0" y="244"/>
                  </a:cubicBezTo>
                  <a:cubicBezTo>
                    <a:pt x="331" y="244"/>
                    <a:pt x="331" y="244"/>
                    <a:pt x="331" y="244"/>
                  </a:cubicBezTo>
                  <a:cubicBezTo>
                    <a:pt x="331" y="244"/>
                    <a:pt x="327" y="99"/>
                    <a:pt x="248" y="0"/>
                  </a:cubicBezTo>
                  <a:close/>
                </a:path>
              </a:pathLst>
            </a:custGeom>
            <a:solidFill>
              <a:srgbClr val="434C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7" name="íṩliḑè">
              <a:extLst>
                <a:ext uri="{FF2B5EF4-FFF2-40B4-BE49-F238E27FC236}">
                  <a16:creationId xmlns:a16="http://schemas.microsoft.com/office/drawing/2014/main" id="{FCC598D8-F348-42AD-B2FC-356EDE738CD4}"/>
                </a:ext>
              </a:extLst>
            </p:cNvPr>
            <p:cNvSpPr/>
            <p:nvPr/>
          </p:nvSpPr>
          <p:spPr bwMode="auto">
            <a:xfrm>
              <a:off x="3163888" y="2711450"/>
              <a:ext cx="1704975" cy="2124075"/>
            </a:xfrm>
            <a:custGeom>
              <a:avLst/>
              <a:gdLst>
                <a:gd name="T0" fmla="*/ 367 w 517"/>
                <a:gd name="T1" fmla="*/ 372 h 645"/>
                <a:gd name="T2" fmla="*/ 404 w 517"/>
                <a:gd name="T3" fmla="*/ 425 h 645"/>
                <a:gd name="T4" fmla="*/ 392 w 517"/>
                <a:gd name="T5" fmla="*/ 492 h 645"/>
                <a:gd name="T6" fmla="*/ 325 w 517"/>
                <a:gd name="T7" fmla="*/ 480 h 645"/>
                <a:gd name="T8" fmla="*/ 266 w 517"/>
                <a:gd name="T9" fmla="*/ 396 h 645"/>
                <a:gd name="T10" fmla="*/ 265 w 517"/>
                <a:gd name="T11" fmla="*/ 394 h 645"/>
                <a:gd name="T12" fmla="*/ 263 w 517"/>
                <a:gd name="T13" fmla="*/ 393 h 645"/>
                <a:gd name="T14" fmla="*/ 275 w 517"/>
                <a:gd name="T15" fmla="*/ 326 h 645"/>
                <a:gd name="T16" fmla="*/ 304 w 517"/>
                <a:gd name="T17" fmla="*/ 171 h 645"/>
                <a:gd name="T18" fmla="*/ 148 w 517"/>
                <a:gd name="T19" fmla="*/ 145 h 645"/>
                <a:gd name="T20" fmla="*/ 102 w 517"/>
                <a:gd name="T21" fmla="*/ 244 h 645"/>
                <a:gd name="T22" fmla="*/ 57 w 517"/>
                <a:gd name="T23" fmla="*/ 297 h 645"/>
                <a:gd name="T24" fmla="*/ 6 w 517"/>
                <a:gd name="T25" fmla="*/ 252 h 645"/>
                <a:gd name="T26" fmla="*/ 93 w 517"/>
                <a:gd name="T27" fmla="*/ 66 h 645"/>
                <a:gd name="T28" fmla="*/ 382 w 517"/>
                <a:gd name="T29" fmla="*/ 116 h 645"/>
                <a:gd name="T30" fmla="*/ 367 w 517"/>
                <a:gd name="T31" fmla="*/ 372 h 645"/>
                <a:gd name="T32" fmla="*/ 491 w 517"/>
                <a:gd name="T33" fmla="*/ 549 h 645"/>
                <a:gd name="T34" fmla="*/ 501 w 517"/>
                <a:gd name="T35" fmla="*/ 563 h 645"/>
                <a:gd name="T36" fmla="*/ 489 w 517"/>
                <a:gd name="T37" fmla="*/ 631 h 645"/>
                <a:gd name="T38" fmla="*/ 422 w 517"/>
                <a:gd name="T39" fmla="*/ 619 h 645"/>
                <a:gd name="T40" fmla="*/ 412 w 517"/>
                <a:gd name="T41" fmla="*/ 604 h 645"/>
                <a:gd name="T42" fmla="*/ 424 w 517"/>
                <a:gd name="T43" fmla="*/ 537 h 645"/>
                <a:gd name="T44" fmla="*/ 491 w 517"/>
                <a:gd name="T45" fmla="*/ 54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7" h="645">
                  <a:moveTo>
                    <a:pt x="367" y="372"/>
                  </a:moveTo>
                  <a:cubicBezTo>
                    <a:pt x="404" y="425"/>
                    <a:pt x="404" y="425"/>
                    <a:pt x="404" y="425"/>
                  </a:cubicBezTo>
                  <a:cubicBezTo>
                    <a:pt x="419" y="447"/>
                    <a:pt x="414" y="476"/>
                    <a:pt x="392" y="492"/>
                  </a:cubicBezTo>
                  <a:cubicBezTo>
                    <a:pt x="371" y="507"/>
                    <a:pt x="340" y="503"/>
                    <a:pt x="325" y="480"/>
                  </a:cubicBezTo>
                  <a:cubicBezTo>
                    <a:pt x="266" y="396"/>
                    <a:pt x="266" y="396"/>
                    <a:pt x="266" y="396"/>
                  </a:cubicBezTo>
                  <a:cubicBezTo>
                    <a:pt x="265" y="395"/>
                    <a:pt x="266" y="395"/>
                    <a:pt x="265" y="394"/>
                  </a:cubicBezTo>
                  <a:cubicBezTo>
                    <a:pt x="264" y="394"/>
                    <a:pt x="264" y="394"/>
                    <a:pt x="263" y="393"/>
                  </a:cubicBezTo>
                  <a:cubicBezTo>
                    <a:pt x="249" y="372"/>
                    <a:pt x="254" y="340"/>
                    <a:pt x="275" y="326"/>
                  </a:cubicBezTo>
                  <a:cubicBezTo>
                    <a:pt x="326" y="290"/>
                    <a:pt x="339" y="221"/>
                    <a:pt x="304" y="171"/>
                  </a:cubicBezTo>
                  <a:cubicBezTo>
                    <a:pt x="268" y="120"/>
                    <a:pt x="199" y="109"/>
                    <a:pt x="148" y="145"/>
                  </a:cubicBezTo>
                  <a:cubicBezTo>
                    <a:pt x="115" y="168"/>
                    <a:pt x="99" y="206"/>
                    <a:pt x="102" y="244"/>
                  </a:cubicBezTo>
                  <a:cubicBezTo>
                    <a:pt x="104" y="271"/>
                    <a:pt x="85" y="295"/>
                    <a:pt x="57" y="297"/>
                  </a:cubicBezTo>
                  <a:cubicBezTo>
                    <a:pt x="31" y="299"/>
                    <a:pt x="8" y="280"/>
                    <a:pt x="6" y="252"/>
                  </a:cubicBezTo>
                  <a:cubicBezTo>
                    <a:pt x="0" y="182"/>
                    <a:pt x="31" y="110"/>
                    <a:pt x="93" y="66"/>
                  </a:cubicBezTo>
                  <a:cubicBezTo>
                    <a:pt x="186" y="0"/>
                    <a:pt x="316" y="22"/>
                    <a:pt x="382" y="116"/>
                  </a:cubicBezTo>
                  <a:cubicBezTo>
                    <a:pt x="438" y="196"/>
                    <a:pt x="429" y="302"/>
                    <a:pt x="367" y="372"/>
                  </a:cubicBezTo>
                  <a:close/>
                  <a:moveTo>
                    <a:pt x="491" y="549"/>
                  </a:moveTo>
                  <a:cubicBezTo>
                    <a:pt x="501" y="563"/>
                    <a:pt x="501" y="563"/>
                    <a:pt x="501" y="563"/>
                  </a:cubicBezTo>
                  <a:cubicBezTo>
                    <a:pt x="517" y="586"/>
                    <a:pt x="512" y="615"/>
                    <a:pt x="489" y="631"/>
                  </a:cubicBezTo>
                  <a:cubicBezTo>
                    <a:pt x="468" y="645"/>
                    <a:pt x="438" y="641"/>
                    <a:pt x="422" y="619"/>
                  </a:cubicBezTo>
                  <a:cubicBezTo>
                    <a:pt x="412" y="604"/>
                    <a:pt x="412" y="604"/>
                    <a:pt x="412" y="604"/>
                  </a:cubicBezTo>
                  <a:cubicBezTo>
                    <a:pt x="397" y="582"/>
                    <a:pt x="403" y="552"/>
                    <a:pt x="424" y="537"/>
                  </a:cubicBezTo>
                  <a:cubicBezTo>
                    <a:pt x="446" y="521"/>
                    <a:pt x="476" y="527"/>
                    <a:pt x="491" y="549"/>
                  </a:cubicBezTo>
                  <a:close/>
                </a:path>
              </a:pathLst>
            </a:custGeom>
            <a:solidFill>
              <a:srgbClr val="F4B5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8" name="iśḻidé">
              <a:extLst>
                <a:ext uri="{FF2B5EF4-FFF2-40B4-BE49-F238E27FC236}">
                  <a16:creationId xmlns:a16="http://schemas.microsoft.com/office/drawing/2014/main" id="{BE453046-00E0-4D01-843F-842067857F4D}"/>
                </a:ext>
              </a:extLst>
            </p:cNvPr>
            <p:cNvSpPr/>
            <p:nvPr/>
          </p:nvSpPr>
          <p:spPr bwMode="auto">
            <a:xfrm>
              <a:off x="3090863" y="2763838"/>
              <a:ext cx="1704975" cy="2120900"/>
            </a:xfrm>
            <a:custGeom>
              <a:avLst/>
              <a:gdLst>
                <a:gd name="T0" fmla="*/ 367 w 517"/>
                <a:gd name="T1" fmla="*/ 371 h 644"/>
                <a:gd name="T2" fmla="*/ 404 w 517"/>
                <a:gd name="T3" fmla="*/ 424 h 644"/>
                <a:gd name="T4" fmla="*/ 392 w 517"/>
                <a:gd name="T5" fmla="*/ 491 h 644"/>
                <a:gd name="T6" fmla="*/ 325 w 517"/>
                <a:gd name="T7" fmla="*/ 479 h 644"/>
                <a:gd name="T8" fmla="*/ 266 w 517"/>
                <a:gd name="T9" fmla="*/ 395 h 644"/>
                <a:gd name="T10" fmla="*/ 266 w 517"/>
                <a:gd name="T11" fmla="*/ 393 h 644"/>
                <a:gd name="T12" fmla="*/ 264 w 517"/>
                <a:gd name="T13" fmla="*/ 392 h 644"/>
                <a:gd name="T14" fmla="*/ 276 w 517"/>
                <a:gd name="T15" fmla="*/ 325 h 644"/>
                <a:gd name="T16" fmla="*/ 304 w 517"/>
                <a:gd name="T17" fmla="*/ 170 h 644"/>
                <a:gd name="T18" fmla="*/ 149 w 517"/>
                <a:gd name="T19" fmla="*/ 144 h 644"/>
                <a:gd name="T20" fmla="*/ 103 w 517"/>
                <a:gd name="T21" fmla="*/ 243 h 644"/>
                <a:gd name="T22" fmla="*/ 58 w 517"/>
                <a:gd name="T23" fmla="*/ 296 h 644"/>
                <a:gd name="T24" fmla="*/ 6 w 517"/>
                <a:gd name="T25" fmla="*/ 252 h 644"/>
                <a:gd name="T26" fmla="*/ 93 w 517"/>
                <a:gd name="T27" fmla="*/ 65 h 644"/>
                <a:gd name="T28" fmla="*/ 382 w 517"/>
                <a:gd name="T29" fmla="*/ 115 h 644"/>
                <a:gd name="T30" fmla="*/ 367 w 517"/>
                <a:gd name="T31" fmla="*/ 371 h 644"/>
                <a:gd name="T32" fmla="*/ 491 w 517"/>
                <a:gd name="T33" fmla="*/ 548 h 644"/>
                <a:gd name="T34" fmla="*/ 501 w 517"/>
                <a:gd name="T35" fmla="*/ 562 h 644"/>
                <a:gd name="T36" fmla="*/ 490 w 517"/>
                <a:gd name="T37" fmla="*/ 630 h 644"/>
                <a:gd name="T38" fmla="*/ 422 w 517"/>
                <a:gd name="T39" fmla="*/ 618 h 644"/>
                <a:gd name="T40" fmla="*/ 412 w 517"/>
                <a:gd name="T41" fmla="*/ 603 h 644"/>
                <a:gd name="T42" fmla="*/ 424 w 517"/>
                <a:gd name="T43" fmla="*/ 536 h 644"/>
                <a:gd name="T44" fmla="*/ 491 w 517"/>
                <a:gd name="T45" fmla="*/ 548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7" h="644">
                  <a:moveTo>
                    <a:pt x="367" y="371"/>
                  </a:moveTo>
                  <a:cubicBezTo>
                    <a:pt x="404" y="424"/>
                    <a:pt x="404" y="424"/>
                    <a:pt x="404" y="424"/>
                  </a:cubicBezTo>
                  <a:cubicBezTo>
                    <a:pt x="420" y="446"/>
                    <a:pt x="415" y="475"/>
                    <a:pt x="392" y="491"/>
                  </a:cubicBezTo>
                  <a:cubicBezTo>
                    <a:pt x="371" y="506"/>
                    <a:pt x="341" y="502"/>
                    <a:pt x="325" y="479"/>
                  </a:cubicBezTo>
                  <a:cubicBezTo>
                    <a:pt x="266" y="395"/>
                    <a:pt x="266" y="395"/>
                    <a:pt x="266" y="395"/>
                  </a:cubicBezTo>
                  <a:cubicBezTo>
                    <a:pt x="266" y="395"/>
                    <a:pt x="266" y="394"/>
                    <a:pt x="266" y="393"/>
                  </a:cubicBezTo>
                  <a:cubicBezTo>
                    <a:pt x="264" y="393"/>
                    <a:pt x="264" y="393"/>
                    <a:pt x="264" y="392"/>
                  </a:cubicBezTo>
                  <a:cubicBezTo>
                    <a:pt x="249" y="371"/>
                    <a:pt x="255" y="340"/>
                    <a:pt x="276" y="325"/>
                  </a:cubicBezTo>
                  <a:cubicBezTo>
                    <a:pt x="326" y="289"/>
                    <a:pt x="339" y="220"/>
                    <a:pt x="304" y="170"/>
                  </a:cubicBezTo>
                  <a:cubicBezTo>
                    <a:pt x="268" y="119"/>
                    <a:pt x="200" y="109"/>
                    <a:pt x="149" y="144"/>
                  </a:cubicBezTo>
                  <a:cubicBezTo>
                    <a:pt x="116" y="168"/>
                    <a:pt x="99" y="206"/>
                    <a:pt x="103" y="243"/>
                  </a:cubicBezTo>
                  <a:cubicBezTo>
                    <a:pt x="105" y="270"/>
                    <a:pt x="85" y="294"/>
                    <a:pt x="58" y="296"/>
                  </a:cubicBezTo>
                  <a:cubicBezTo>
                    <a:pt x="31" y="298"/>
                    <a:pt x="9" y="279"/>
                    <a:pt x="6" y="252"/>
                  </a:cubicBezTo>
                  <a:cubicBezTo>
                    <a:pt x="0" y="181"/>
                    <a:pt x="31" y="109"/>
                    <a:pt x="93" y="65"/>
                  </a:cubicBezTo>
                  <a:cubicBezTo>
                    <a:pt x="187" y="0"/>
                    <a:pt x="317" y="22"/>
                    <a:pt x="382" y="115"/>
                  </a:cubicBezTo>
                  <a:cubicBezTo>
                    <a:pt x="438" y="195"/>
                    <a:pt x="430" y="301"/>
                    <a:pt x="367" y="371"/>
                  </a:cubicBezTo>
                  <a:close/>
                  <a:moveTo>
                    <a:pt x="491" y="548"/>
                  </a:moveTo>
                  <a:cubicBezTo>
                    <a:pt x="501" y="562"/>
                    <a:pt x="501" y="562"/>
                    <a:pt x="501" y="562"/>
                  </a:cubicBezTo>
                  <a:cubicBezTo>
                    <a:pt x="517" y="585"/>
                    <a:pt x="512" y="614"/>
                    <a:pt x="490" y="630"/>
                  </a:cubicBezTo>
                  <a:cubicBezTo>
                    <a:pt x="469" y="644"/>
                    <a:pt x="438" y="640"/>
                    <a:pt x="422" y="618"/>
                  </a:cubicBezTo>
                  <a:cubicBezTo>
                    <a:pt x="412" y="603"/>
                    <a:pt x="412" y="603"/>
                    <a:pt x="412" y="603"/>
                  </a:cubicBezTo>
                  <a:cubicBezTo>
                    <a:pt x="397" y="582"/>
                    <a:pt x="403" y="551"/>
                    <a:pt x="424" y="536"/>
                  </a:cubicBezTo>
                  <a:cubicBezTo>
                    <a:pt x="447" y="520"/>
                    <a:pt x="476" y="526"/>
                    <a:pt x="491" y="548"/>
                  </a:cubicBezTo>
                  <a:close/>
                </a:path>
              </a:pathLst>
            </a:custGeom>
            <a:solidFill>
              <a:srgbClr val="FFD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9" name="iṡļiďê">
              <a:extLst>
                <a:ext uri="{FF2B5EF4-FFF2-40B4-BE49-F238E27FC236}">
                  <a16:creationId xmlns:a16="http://schemas.microsoft.com/office/drawing/2014/main" id="{C958A3C5-AD7B-4330-857F-329802706E7E}"/>
                </a:ext>
              </a:extLst>
            </p:cNvPr>
            <p:cNvSpPr/>
            <p:nvPr/>
          </p:nvSpPr>
          <p:spPr bwMode="auto">
            <a:xfrm>
              <a:off x="4195763" y="2654300"/>
              <a:ext cx="596900" cy="939800"/>
            </a:xfrm>
            <a:custGeom>
              <a:avLst/>
              <a:gdLst>
                <a:gd name="T0" fmla="*/ 107 w 181"/>
                <a:gd name="T1" fmla="*/ 0 h 285"/>
                <a:gd name="T2" fmla="*/ 176 w 181"/>
                <a:gd name="T3" fmla="*/ 149 h 285"/>
                <a:gd name="T4" fmla="*/ 17 w 181"/>
                <a:gd name="T5" fmla="*/ 285 h 285"/>
                <a:gd name="T6" fmla="*/ 0 w 181"/>
                <a:gd name="T7" fmla="*/ 218 h 285"/>
                <a:gd name="T8" fmla="*/ 123 w 181"/>
                <a:gd name="T9" fmla="*/ 143 h 285"/>
                <a:gd name="T10" fmla="*/ 97 w 181"/>
                <a:gd name="T11" fmla="*/ 81 h 285"/>
                <a:gd name="T12" fmla="*/ 107 w 181"/>
                <a:gd name="T13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285">
                  <a:moveTo>
                    <a:pt x="107" y="0"/>
                  </a:moveTo>
                  <a:cubicBezTo>
                    <a:pt x="107" y="0"/>
                    <a:pt x="171" y="114"/>
                    <a:pt x="176" y="149"/>
                  </a:cubicBezTo>
                  <a:cubicBezTo>
                    <a:pt x="181" y="185"/>
                    <a:pt x="47" y="280"/>
                    <a:pt x="17" y="285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18"/>
                    <a:pt x="111" y="166"/>
                    <a:pt x="123" y="143"/>
                  </a:cubicBezTo>
                  <a:cubicBezTo>
                    <a:pt x="97" y="81"/>
                    <a:pt x="97" y="81"/>
                    <a:pt x="97" y="81"/>
                  </a:cubicBezTo>
                  <a:lnTo>
                    <a:pt x="107" y="0"/>
                  </a:lnTo>
                  <a:close/>
                </a:path>
              </a:pathLst>
            </a:custGeom>
            <a:solidFill>
              <a:srgbClr val="F6D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0" name="iṧḻíḋe">
              <a:extLst>
                <a:ext uri="{FF2B5EF4-FFF2-40B4-BE49-F238E27FC236}">
                  <a16:creationId xmlns:a16="http://schemas.microsoft.com/office/drawing/2014/main" id="{D2879C60-CDB5-45B7-830F-C97C4D7A950E}"/>
                </a:ext>
              </a:extLst>
            </p:cNvPr>
            <p:cNvSpPr/>
            <p:nvPr/>
          </p:nvSpPr>
          <p:spPr bwMode="auto">
            <a:xfrm>
              <a:off x="4103688" y="3405188"/>
              <a:ext cx="131763" cy="174625"/>
            </a:xfrm>
            <a:custGeom>
              <a:avLst/>
              <a:gdLst>
                <a:gd name="T0" fmla="*/ 31 w 40"/>
                <a:gd name="T1" fmla="*/ 2 h 53"/>
                <a:gd name="T2" fmla="*/ 7 w 40"/>
                <a:gd name="T3" fmla="*/ 8 h 53"/>
                <a:gd name="T4" fmla="*/ 40 w 40"/>
                <a:gd name="T5" fmla="*/ 39 h 53"/>
                <a:gd name="T6" fmla="*/ 31 w 40"/>
                <a:gd name="T7" fmla="*/ 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53">
                  <a:moveTo>
                    <a:pt x="31" y="2"/>
                  </a:moveTo>
                  <a:cubicBezTo>
                    <a:pt x="31" y="2"/>
                    <a:pt x="11" y="0"/>
                    <a:pt x="7" y="8"/>
                  </a:cubicBezTo>
                  <a:cubicBezTo>
                    <a:pt x="3" y="16"/>
                    <a:pt x="0" y="53"/>
                    <a:pt x="40" y="39"/>
                  </a:cubicBezTo>
                  <a:lnTo>
                    <a:pt x="31" y="2"/>
                  </a:lnTo>
                  <a:close/>
                </a:path>
              </a:pathLst>
            </a:custGeom>
            <a:solidFill>
              <a:srgbClr val="B27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pic>
        <p:nvPicPr>
          <p:cNvPr id="112" name="图片 111">
            <a:extLst>
              <a:ext uri="{FF2B5EF4-FFF2-40B4-BE49-F238E27FC236}">
                <a16:creationId xmlns:a16="http://schemas.microsoft.com/office/drawing/2014/main" id="{DE2F4C06-4781-4410-A553-211E22B200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89188" y="1441199"/>
            <a:ext cx="3007394" cy="1529148"/>
          </a:xfrm>
          <a:prstGeom prst="rect">
            <a:avLst/>
          </a:prstGeom>
        </p:spPr>
      </p:pic>
      <p:pic>
        <p:nvPicPr>
          <p:cNvPr id="113" name="图片 112">
            <a:extLst>
              <a:ext uri="{FF2B5EF4-FFF2-40B4-BE49-F238E27FC236}">
                <a16:creationId xmlns:a16="http://schemas.microsoft.com/office/drawing/2014/main" id="{62EAB144-DB81-4987-A0F7-B744D29380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89137" y="1443242"/>
            <a:ext cx="3007394" cy="1542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8773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AA8BD59-DCC7-404B-B837-10DBFC0816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基本数据类型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C6259E4-1B9B-4BB7-8508-5CB415974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月泉的博客  </a:t>
            </a:r>
            <a:r>
              <a:rPr lang="en-US" altLang="zh-CN" dirty="0">
                <a:cs typeface="+mn-ea"/>
                <a:sym typeface="+mn-lt"/>
              </a:rPr>
              <a:t>www.lunaspring.com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878CE4E-CF5B-4899-8E31-6C37FAA5D6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6" name="组合 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958FA64-065D-4F1D-92C1-CC4038A0E922}"/>
              </a:ext>
            </a:extLst>
          </p:cNvPr>
          <p:cNvGrpSpPr/>
          <p:nvPr/>
        </p:nvGrpSpPr>
        <p:grpSpPr>
          <a:xfrm>
            <a:off x="3434421" y="3043593"/>
            <a:ext cx="5935821" cy="2904720"/>
            <a:chOff x="2828585" y="1318875"/>
            <a:chExt cx="6534830" cy="4220250"/>
          </a:xfrm>
        </p:grpSpPr>
        <p:sp>
          <p:nvSpPr>
            <p:cNvPr id="7" name="iṩliḑê">
              <a:extLst>
                <a:ext uri="{FF2B5EF4-FFF2-40B4-BE49-F238E27FC236}">
                  <a16:creationId xmlns:a16="http://schemas.microsoft.com/office/drawing/2014/main" id="{8685C348-B2E7-43E6-AD46-EB45BD75BEFF}"/>
                </a:ext>
              </a:extLst>
            </p:cNvPr>
            <p:cNvSpPr/>
            <p:nvPr/>
          </p:nvSpPr>
          <p:spPr bwMode="auto">
            <a:xfrm>
              <a:off x="2828585" y="4830863"/>
              <a:ext cx="6534830" cy="708262"/>
            </a:xfrm>
            <a:custGeom>
              <a:avLst/>
              <a:gdLst>
                <a:gd name="T0" fmla="*/ 1808 w 3903"/>
                <a:gd name="T1" fmla="*/ 0 h 424"/>
                <a:gd name="T2" fmla="*/ 1781 w 3903"/>
                <a:gd name="T3" fmla="*/ 0 h 424"/>
                <a:gd name="T4" fmla="*/ 1443 w 3903"/>
                <a:gd name="T5" fmla="*/ 16 h 424"/>
                <a:gd name="T6" fmla="*/ 1316 w 3903"/>
                <a:gd name="T7" fmla="*/ 35 h 424"/>
                <a:gd name="T8" fmla="*/ 1062 w 3903"/>
                <a:gd name="T9" fmla="*/ 67 h 424"/>
                <a:gd name="T10" fmla="*/ 856 w 3903"/>
                <a:gd name="T11" fmla="*/ 83 h 424"/>
                <a:gd name="T12" fmla="*/ 778 w 3903"/>
                <a:gd name="T13" fmla="*/ 87 h 424"/>
                <a:gd name="T14" fmla="*/ 657 w 3903"/>
                <a:gd name="T15" fmla="*/ 77 h 424"/>
                <a:gd name="T16" fmla="*/ 517 w 3903"/>
                <a:gd name="T17" fmla="*/ 50 h 424"/>
                <a:gd name="T18" fmla="*/ 357 w 3903"/>
                <a:gd name="T19" fmla="*/ 25 h 424"/>
                <a:gd name="T20" fmla="*/ 354 w 3903"/>
                <a:gd name="T21" fmla="*/ 25 h 424"/>
                <a:gd name="T22" fmla="*/ 128 w 3903"/>
                <a:gd name="T23" fmla="*/ 52 h 424"/>
                <a:gd name="T24" fmla="*/ 51 w 3903"/>
                <a:gd name="T25" fmla="*/ 97 h 424"/>
                <a:gd name="T26" fmla="*/ 45 w 3903"/>
                <a:gd name="T27" fmla="*/ 301 h 424"/>
                <a:gd name="T28" fmla="*/ 388 w 3903"/>
                <a:gd name="T29" fmla="*/ 412 h 424"/>
                <a:gd name="T30" fmla="*/ 417 w 3903"/>
                <a:gd name="T31" fmla="*/ 412 h 424"/>
                <a:gd name="T32" fmla="*/ 734 w 3903"/>
                <a:gd name="T33" fmla="*/ 400 h 424"/>
                <a:gd name="T34" fmla="*/ 1053 w 3903"/>
                <a:gd name="T35" fmla="*/ 389 h 424"/>
                <a:gd name="T36" fmla="*/ 1058 w 3903"/>
                <a:gd name="T37" fmla="*/ 389 h 424"/>
                <a:gd name="T38" fmla="*/ 1145 w 3903"/>
                <a:gd name="T39" fmla="*/ 389 h 424"/>
                <a:gd name="T40" fmla="*/ 1722 w 3903"/>
                <a:gd name="T41" fmla="*/ 374 h 424"/>
                <a:gd name="T42" fmla="*/ 2092 w 3903"/>
                <a:gd name="T43" fmla="*/ 364 h 424"/>
                <a:gd name="T44" fmla="*/ 2346 w 3903"/>
                <a:gd name="T45" fmla="*/ 365 h 424"/>
                <a:gd name="T46" fmla="*/ 2983 w 3903"/>
                <a:gd name="T47" fmla="*/ 395 h 424"/>
                <a:gd name="T48" fmla="*/ 3262 w 3903"/>
                <a:gd name="T49" fmla="*/ 420 h 424"/>
                <a:gd name="T50" fmla="*/ 3334 w 3903"/>
                <a:gd name="T51" fmla="*/ 424 h 424"/>
                <a:gd name="T52" fmla="*/ 3507 w 3903"/>
                <a:gd name="T53" fmla="*/ 413 h 424"/>
                <a:gd name="T54" fmla="*/ 3709 w 3903"/>
                <a:gd name="T55" fmla="*/ 359 h 424"/>
                <a:gd name="T56" fmla="*/ 3863 w 3903"/>
                <a:gd name="T57" fmla="*/ 204 h 424"/>
                <a:gd name="T58" fmla="*/ 3188 w 3903"/>
                <a:gd name="T59" fmla="*/ 48 h 424"/>
                <a:gd name="T60" fmla="*/ 3158 w 3903"/>
                <a:gd name="T61" fmla="*/ 49 h 424"/>
                <a:gd name="T62" fmla="*/ 2944 w 3903"/>
                <a:gd name="T63" fmla="*/ 50 h 424"/>
                <a:gd name="T64" fmla="*/ 2823 w 3903"/>
                <a:gd name="T65" fmla="*/ 48 h 424"/>
                <a:gd name="T66" fmla="*/ 2685 w 3903"/>
                <a:gd name="T67" fmla="*/ 27 h 424"/>
                <a:gd name="T68" fmla="*/ 2547 w 3903"/>
                <a:gd name="T69" fmla="*/ 16 h 424"/>
                <a:gd name="T70" fmla="*/ 2100 w 3903"/>
                <a:gd name="T71" fmla="*/ 1 h 424"/>
                <a:gd name="T72" fmla="*/ 1969 w 3903"/>
                <a:gd name="T73" fmla="*/ 1 h 424"/>
                <a:gd name="T74" fmla="*/ 1808 w 3903"/>
                <a:gd name="T75" fmla="*/ 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903" h="424">
                  <a:moveTo>
                    <a:pt x="1808" y="0"/>
                  </a:moveTo>
                  <a:cubicBezTo>
                    <a:pt x="1799" y="0"/>
                    <a:pt x="1790" y="0"/>
                    <a:pt x="1781" y="0"/>
                  </a:cubicBezTo>
                  <a:cubicBezTo>
                    <a:pt x="1668" y="1"/>
                    <a:pt x="1555" y="4"/>
                    <a:pt x="1443" y="16"/>
                  </a:cubicBezTo>
                  <a:cubicBezTo>
                    <a:pt x="1400" y="21"/>
                    <a:pt x="1359" y="31"/>
                    <a:pt x="1316" y="35"/>
                  </a:cubicBezTo>
                  <a:cubicBezTo>
                    <a:pt x="1231" y="44"/>
                    <a:pt x="1148" y="59"/>
                    <a:pt x="1062" y="67"/>
                  </a:cubicBezTo>
                  <a:cubicBezTo>
                    <a:pt x="994" y="72"/>
                    <a:pt x="925" y="76"/>
                    <a:pt x="856" y="83"/>
                  </a:cubicBezTo>
                  <a:cubicBezTo>
                    <a:pt x="831" y="86"/>
                    <a:pt x="805" y="87"/>
                    <a:pt x="778" y="87"/>
                  </a:cubicBezTo>
                  <a:cubicBezTo>
                    <a:pt x="737" y="87"/>
                    <a:pt x="696" y="84"/>
                    <a:pt x="657" y="77"/>
                  </a:cubicBezTo>
                  <a:cubicBezTo>
                    <a:pt x="610" y="69"/>
                    <a:pt x="563" y="64"/>
                    <a:pt x="517" y="50"/>
                  </a:cubicBezTo>
                  <a:cubicBezTo>
                    <a:pt x="466" y="35"/>
                    <a:pt x="410" y="25"/>
                    <a:pt x="357" y="25"/>
                  </a:cubicBezTo>
                  <a:cubicBezTo>
                    <a:pt x="356" y="25"/>
                    <a:pt x="355" y="25"/>
                    <a:pt x="354" y="25"/>
                  </a:cubicBezTo>
                  <a:cubicBezTo>
                    <a:pt x="277" y="25"/>
                    <a:pt x="202" y="25"/>
                    <a:pt x="128" y="52"/>
                  </a:cubicBezTo>
                  <a:cubicBezTo>
                    <a:pt x="103" y="61"/>
                    <a:pt x="71" y="77"/>
                    <a:pt x="51" y="97"/>
                  </a:cubicBezTo>
                  <a:cubicBezTo>
                    <a:pt x="6" y="142"/>
                    <a:pt x="0" y="254"/>
                    <a:pt x="45" y="301"/>
                  </a:cubicBezTo>
                  <a:cubicBezTo>
                    <a:pt x="121" y="380"/>
                    <a:pt x="282" y="411"/>
                    <a:pt x="388" y="412"/>
                  </a:cubicBezTo>
                  <a:cubicBezTo>
                    <a:pt x="398" y="412"/>
                    <a:pt x="408" y="412"/>
                    <a:pt x="417" y="412"/>
                  </a:cubicBezTo>
                  <a:cubicBezTo>
                    <a:pt x="523" y="412"/>
                    <a:pt x="627" y="405"/>
                    <a:pt x="734" y="400"/>
                  </a:cubicBezTo>
                  <a:cubicBezTo>
                    <a:pt x="840" y="396"/>
                    <a:pt x="946" y="389"/>
                    <a:pt x="1053" y="389"/>
                  </a:cubicBezTo>
                  <a:cubicBezTo>
                    <a:pt x="1055" y="389"/>
                    <a:pt x="1056" y="389"/>
                    <a:pt x="1058" y="389"/>
                  </a:cubicBezTo>
                  <a:cubicBezTo>
                    <a:pt x="1087" y="389"/>
                    <a:pt x="1116" y="389"/>
                    <a:pt x="1145" y="389"/>
                  </a:cubicBezTo>
                  <a:cubicBezTo>
                    <a:pt x="1338" y="389"/>
                    <a:pt x="1530" y="387"/>
                    <a:pt x="1722" y="374"/>
                  </a:cubicBezTo>
                  <a:cubicBezTo>
                    <a:pt x="1845" y="366"/>
                    <a:pt x="1968" y="364"/>
                    <a:pt x="2092" y="364"/>
                  </a:cubicBezTo>
                  <a:cubicBezTo>
                    <a:pt x="2176" y="364"/>
                    <a:pt x="2261" y="365"/>
                    <a:pt x="2346" y="365"/>
                  </a:cubicBezTo>
                  <a:cubicBezTo>
                    <a:pt x="2559" y="365"/>
                    <a:pt x="2771" y="367"/>
                    <a:pt x="2983" y="395"/>
                  </a:cubicBezTo>
                  <a:cubicBezTo>
                    <a:pt x="3075" y="407"/>
                    <a:pt x="3169" y="412"/>
                    <a:pt x="3262" y="420"/>
                  </a:cubicBezTo>
                  <a:cubicBezTo>
                    <a:pt x="3286" y="423"/>
                    <a:pt x="3310" y="424"/>
                    <a:pt x="3334" y="424"/>
                  </a:cubicBezTo>
                  <a:cubicBezTo>
                    <a:pt x="3391" y="424"/>
                    <a:pt x="3449" y="418"/>
                    <a:pt x="3507" y="413"/>
                  </a:cubicBezTo>
                  <a:cubicBezTo>
                    <a:pt x="3577" y="407"/>
                    <a:pt x="3646" y="389"/>
                    <a:pt x="3709" y="359"/>
                  </a:cubicBezTo>
                  <a:cubicBezTo>
                    <a:pt x="3759" y="335"/>
                    <a:pt x="3848" y="261"/>
                    <a:pt x="3863" y="204"/>
                  </a:cubicBezTo>
                  <a:cubicBezTo>
                    <a:pt x="3903" y="56"/>
                    <a:pt x="3347" y="48"/>
                    <a:pt x="3188" y="48"/>
                  </a:cubicBezTo>
                  <a:cubicBezTo>
                    <a:pt x="3175" y="48"/>
                    <a:pt x="3165" y="49"/>
                    <a:pt x="3158" y="49"/>
                  </a:cubicBezTo>
                  <a:cubicBezTo>
                    <a:pt x="3087" y="49"/>
                    <a:pt x="3015" y="50"/>
                    <a:pt x="2944" y="50"/>
                  </a:cubicBezTo>
                  <a:cubicBezTo>
                    <a:pt x="2904" y="50"/>
                    <a:pt x="2864" y="50"/>
                    <a:pt x="2823" y="48"/>
                  </a:cubicBezTo>
                  <a:cubicBezTo>
                    <a:pt x="2777" y="47"/>
                    <a:pt x="2731" y="37"/>
                    <a:pt x="2685" y="27"/>
                  </a:cubicBezTo>
                  <a:cubicBezTo>
                    <a:pt x="2639" y="17"/>
                    <a:pt x="2594" y="20"/>
                    <a:pt x="2547" y="16"/>
                  </a:cubicBezTo>
                  <a:cubicBezTo>
                    <a:pt x="2399" y="2"/>
                    <a:pt x="2249" y="1"/>
                    <a:pt x="2100" y="1"/>
                  </a:cubicBezTo>
                  <a:cubicBezTo>
                    <a:pt x="2057" y="1"/>
                    <a:pt x="2013" y="1"/>
                    <a:pt x="1969" y="1"/>
                  </a:cubicBezTo>
                  <a:cubicBezTo>
                    <a:pt x="1916" y="1"/>
                    <a:pt x="1862" y="0"/>
                    <a:pt x="1808" y="0"/>
                  </a:cubicBezTo>
                </a:path>
              </a:pathLst>
            </a:custGeom>
            <a:solidFill>
              <a:srgbClr val="F6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" name="íş1ídé">
              <a:extLst>
                <a:ext uri="{FF2B5EF4-FFF2-40B4-BE49-F238E27FC236}">
                  <a16:creationId xmlns:a16="http://schemas.microsoft.com/office/drawing/2014/main" id="{A74E9AC5-CA32-4778-BE75-F5D8D8E4EC3F}"/>
                </a:ext>
              </a:extLst>
            </p:cNvPr>
            <p:cNvSpPr/>
            <p:nvPr/>
          </p:nvSpPr>
          <p:spPr bwMode="auto">
            <a:xfrm>
              <a:off x="4786719" y="1318875"/>
              <a:ext cx="2820701" cy="1859379"/>
            </a:xfrm>
            <a:prstGeom prst="rect">
              <a:avLst/>
            </a:prstGeom>
            <a:solidFill>
              <a:srgbClr val="5D66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" name="ïṧļidè">
              <a:extLst>
                <a:ext uri="{FF2B5EF4-FFF2-40B4-BE49-F238E27FC236}">
                  <a16:creationId xmlns:a16="http://schemas.microsoft.com/office/drawing/2014/main" id="{A5159C2B-C22F-4831-9335-07CE1B2A6C40}"/>
                </a:ext>
              </a:extLst>
            </p:cNvPr>
            <p:cNvSpPr/>
            <p:nvPr/>
          </p:nvSpPr>
          <p:spPr bwMode="auto">
            <a:xfrm>
              <a:off x="4718824" y="3158194"/>
              <a:ext cx="2956490" cy="123444"/>
            </a:xfrm>
            <a:prstGeom prst="rect">
              <a:avLst/>
            </a:prstGeom>
            <a:solidFill>
              <a:srgbClr val="3B33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ïsḷíḓe">
              <a:extLst>
                <a:ext uri="{FF2B5EF4-FFF2-40B4-BE49-F238E27FC236}">
                  <a16:creationId xmlns:a16="http://schemas.microsoft.com/office/drawing/2014/main" id="{2F0E6A90-6BD4-4C7B-8417-2F6860A68345}"/>
                </a:ext>
              </a:extLst>
            </p:cNvPr>
            <p:cNvSpPr/>
            <p:nvPr/>
          </p:nvSpPr>
          <p:spPr bwMode="auto">
            <a:xfrm>
              <a:off x="4936395" y="4803088"/>
              <a:ext cx="121902" cy="137332"/>
            </a:xfrm>
            <a:custGeom>
              <a:avLst/>
              <a:gdLst>
                <a:gd name="T0" fmla="*/ 3 w 79"/>
                <a:gd name="T1" fmla="*/ 27 h 89"/>
                <a:gd name="T2" fmla="*/ 0 w 79"/>
                <a:gd name="T3" fmla="*/ 55 h 89"/>
                <a:gd name="T4" fmla="*/ 50 w 79"/>
                <a:gd name="T5" fmla="*/ 89 h 89"/>
                <a:gd name="T6" fmla="*/ 79 w 79"/>
                <a:gd name="T7" fmla="*/ 65 h 89"/>
                <a:gd name="T8" fmla="*/ 55 w 79"/>
                <a:gd name="T9" fmla="*/ 35 h 89"/>
                <a:gd name="T10" fmla="*/ 5 w 79"/>
                <a:gd name="T11" fmla="*/ 0 h 89"/>
                <a:gd name="T12" fmla="*/ 3 w 79"/>
                <a:gd name="T13" fmla="*/ 2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89">
                  <a:moveTo>
                    <a:pt x="3" y="27"/>
                  </a:moveTo>
                  <a:lnTo>
                    <a:pt x="0" y="55"/>
                  </a:lnTo>
                  <a:lnTo>
                    <a:pt x="50" y="89"/>
                  </a:lnTo>
                  <a:lnTo>
                    <a:pt x="79" y="65"/>
                  </a:lnTo>
                  <a:lnTo>
                    <a:pt x="55" y="35"/>
                  </a:lnTo>
                  <a:lnTo>
                    <a:pt x="5" y="0"/>
                  </a:lnTo>
                  <a:lnTo>
                    <a:pt x="3" y="27"/>
                  </a:lnTo>
                  <a:close/>
                </a:path>
              </a:pathLst>
            </a:custGeom>
            <a:solidFill>
              <a:srgbClr val="202B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" name="ïṣḷiḓe">
              <a:extLst>
                <a:ext uri="{FF2B5EF4-FFF2-40B4-BE49-F238E27FC236}">
                  <a16:creationId xmlns:a16="http://schemas.microsoft.com/office/drawing/2014/main" id="{D6D59F94-7242-4693-8B45-F30E8234F92E}"/>
                </a:ext>
              </a:extLst>
            </p:cNvPr>
            <p:cNvSpPr/>
            <p:nvPr/>
          </p:nvSpPr>
          <p:spPr bwMode="auto">
            <a:xfrm>
              <a:off x="4930223" y="3537785"/>
              <a:ext cx="327127" cy="1320853"/>
            </a:xfrm>
            <a:custGeom>
              <a:avLst/>
              <a:gdLst>
                <a:gd name="T0" fmla="*/ 8 w 212"/>
                <a:gd name="T1" fmla="*/ 10 h 856"/>
                <a:gd name="T2" fmla="*/ 0 w 212"/>
                <a:gd name="T3" fmla="*/ 92 h 856"/>
                <a:gd name="T4" fmla="*/ 75 w 212"/>
                <a:gd name="T5" fmla="*/ 379 h 856"/>
                <a:gd name="T6" fmla="*/ 5 w 212"/>
                <a:gd name="T7" fmla="*/ 839 h 856"/>
                <a:gd name="T8" fmla="*/ 56 w 212"/>
                <a:gd name="T9" fmla="*/ 856 h 856"/>
                <a:gd name="T10" fmla="*/ 191 w 212"/>
                <a:gd name="T11" fmla="*/ 407 h 856"/>
                <a:gd name="T12" fmla="*/ 212 w 212"/>
                <a:gd name="T13" fmla="*/ 276 h 856"/>
                <a:gd name="T14" fmla="*/ 211 w 212"/>
                <a:gd name="T15" fmla="*/ 0 h 856"/>
                <a:gd name="T16" fmla="*/ 8 w 212"/>
                <a:gd name="T17" fmla="*/ 10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856">
                  <a:moveTo>
                    <a:pt x="8" y="10"/>
                  </a:moveTo>
                  <a:lnTo>
                    <a:pt x="0" y="92"/>
                  </a:lnTo>
                  <a:lnTo>
                    <a:pt x="75" y="379"/>
                  </a:lnTo>
                  <a:lnTo>
                    <a:pt x="5" y="839"/>
                  </a:lnTo>
                  <a:lnTo>
                    <a:pt x="56" y="856"/>
                  </a:lnTo>
                  <a:lnTo>
                    <a:pt x="191" y="407"/>
                  </a:lnTo>
                  <a:lnTo>
                    <a:pt x="212" y="276"/>
                  </a:lnTo>
                  <a:lnTo>
                    <a:pt x="211" y="0"/>
                  </a:lnTo>
                  <a:lnTo>
                    <a:pt x="8" y="10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îŝ1ídê">
              <a:extLst>
                <a:ext uri="{FF2B5EF4-FFF2-40B4-BE49-F238E27FC236}">
                  <a16:creationId xmlns:a16="http://schemas.microsoft.com/office/drawing/2014/main" id="{246890A1-67DB-4DE0-856C-1A06778A4DE4}"/>
                </a:ext>
              </a:extLst>
            </p:cNvPr>
            <p:cNvSpPr/>
            <p:nvPr/>
          </p:nvSpPr>
          <p:spPr bwMode="auto">
            <a:xfrm>
              <a:off x="5157052" y="3587163"/>
              <a:ext cx="391935" cy="1296164"/>
            </a:xfrm>
            <a:custGeom>
              <a:avLst/>
              <a:gdLst>
                <a:gd name="T0" fmla="*/ 254 w 254"/>
                <a:gd name="T1" fmla="*/ 70 h 840"/>
                <a:gd name="T2" fmla="*/ 147 w 254"/>
                <a:gd name="T3" fmla="*/ 840 h 840"/>
                <a:gd name="T4" fmla="*/ 98 w 254"/>
                <a:gd name="T5" fmla="*/ 840 h 840"/>
                <a:gd name="T6" fmla="*/ 89 w 254"/>
                <a:gd name="T7" fmla="*/ 347 h 840"/>
                <a:gd name="T8" fmla="*/ 0 w 254"/>
                <a:gd name="T9" fmla="*/ 0 h 840"/>
                <a:gd name="T10" fmla="*/ 254 w 254"/>
                <a:gd name="T11" fmla="*/ 70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4" h="840">
                  <a:moveTo>
                    <a:pt x="254" y="70"/>
                  </a:moveTo>
                  <a:lnTo>
                    <a:pt x="147" y="840"/>
                  </a:lnTo>
                  <a:lnTo>
                    <a:pt x="98" y="840"/>
                  </a:lnTo>
                  <a:lnTo>
                    <a:pt x="89" y="347"/>
                  </a:lnTo>
                  <a:lnTo>
                    <a:pt x="0" y="0"/>
                  </a:lnTo>
                  <a:lnTo>
                    <a:pt x="254" y="70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" name="ïṥľiďè">
              <a:extLst>
                <a:ext uri="{FF2B5EF4-FFF2-40B4-BE49-F238E27FC236}">
                  <a16:creationId xmlns:a16="http://schemas.microsoft.com/office/drawing/2014/main" id="{BBDF698C-F10C-4DB6-9D40-66685FEEF108}"/>
                </a:ext>
              </a:extLst>
            </p:cNvPr>
            <p:cNvSpPr/>
            <p:nvPr/>
          </p:nvSpPr>
          <p:spPr bwMode="auto">
            <a:xfrm>
              <a:off x="5308271" y="4875611"/>
              <a:ext cx="123444" cy="84868"/>
            </a:xfrm>
            <a:custGeom>
              <a:avLst/>
              <a:gdLst>
                <a:gd name="T0" fmla="*/ 53 w 80"/>
                <a:gd name="T1" fmla="*/ 0 h 55"/>
                <a:gd name="T2" fmla="*/ 80 w 80"/>
                <a:gd name="T3" fmla="*/ 27 h 55"/>
                <a:gd name="T4" fmla="*/ 53 w 80"/>
                <a:gd name="T5" fmla="*/ 55 h 55"/>
                <a:gd name="T6" fmla="*/ 0 w 80"/>
                <a:gd name="T7" fmla="*/ 27 h 55"/>
                <a:gd name="T8" fmla="*/ 0 w 80"/>
                <a:gd name="T9" fmla="*/ 0 h 55"/>
                <a:gd name="T10" fmla="*/ 53 w 80"/>
                <a:gd name="T1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55">
                  <a:moveTo>
                    <a:pt x="53" y="0"/>
                  </a:moveTo>
                  <a:lnTo>
                    <a:pt x="80" y="27"/>
                  </a:lnTo>
                  <a:lnTo>
                    <a:pt x="53" y="55"/>
                  </a:lnTo>
                  <a:lnTo>
                    <a:pt x="0" y="27"/>
                  </a:lnTo>
                  <a:lnTo>
                    <a:pt x="0" y="0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202B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îṥḻîḑê">
              <a:extLst>
                <a:ext uri="{FF2B5EF4-FFF2-40B4-BE49-F238E27FC236}">
                  <a16:creationId xmlns:a16="http://schemas.microsoft.com/office/drawing/2014/main" id="{760C6B1C-689C-4786-A832-6671C42EA22A}"/>
                </a:ext>
              </a:extLst>
            </p:cNvPr>
            <p:cNvSpPr/>
            <p:nvPr/>
          </p:nvSpPr>
          <p:spPr bwMode="auto">
            <a:xfrm>
              <a:off x="4661732" y="2719967"/>
              <a:ext cx="1036932" cy="1404178"/>
            </a:xfrm>
            <a:custGeom>
              <a:avLst/>
              <a:gdLst>
                <a:gd name="T0" fmla="*/ 417 w 619"/>
                <a:gd name="T1" fmla="*/ 29 h 840"/>
                <a:gd name="T2" fmla="*/ 249 w 619"/>
                <a:gd name="T3" fmla="*/ 17 h 840"/>
                <a:gd name="T4" fmla="*/ 199 w 619"/>
                <a:gd name="T5" fmla="*/ 314 h 840"/>
                <a:gd name="T6" fmla="*/ 126 w 619"/>
                <a:gd name="T7" fmla="*/ 565 h 840"/>
                <a:gd name="T8" fmla="*/ 20 w 619"/>
                <a:gd name="T9" fmla="*/ 745 h 840"/>
                <a:gd name="T10" fmla="*/ 2 w 619"/>
                <a:gd name="T11" fmla="*/ 776 h 840"/>
                <a:gd name="T12" fmla="*/ 16 w 619"/>
                <a:gd name="T13" fmla="*/ 792 h 840"/>
                <a:gd name="T14" fmla="*/ 228 w 619"/>
                <a:gd name="T15" fmla="*/ 839 h 840"/>
                <a:gd name="T16" fmla="*/ 395 w 619"/>
                <a:gd name="T17" fmla="*/ 839 h 840"/>
                <a:gd name="T18" fmla="*/ 610 w 619"/>
                <a:gd name="T19" fmla="*/ 788 h 840"/>
                <a:gd name="T20" fmla="*/ 619 w 619"/>
                <a:gd name="T21" fmla="*/ 777 h 840"/>
                <a:gd name="T22" fmla="*/ 614 w 619"/>
                <a:gd name="T23" fmla="*/ 766 h 840"/>
                <a:gd name="T24" fmla="*/ 567 w 619"/>
                <a:gd name="T25" fmla="*/ 538 h 840"/>
                <a:gd name="T26" fmla="*/ 529 w 619"/>
                <a:gd name="T27" fmla="*/ 302 h 840"/>
                <a:gd name="T28" fmla="*/ 481 w 619"/>
                <a:gd name="T29" fmla="*/ 156 h 840"/>
                <a:gd name="T30" fmla="*/ 420 w 619"/>
                <a:gd name="T31" fmla="*/ 32 h 840"/>
                <a:gd name="T32" fmla="*/ 417 w 619"/>
                <a:gd name="T33" fmla="*/ 29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9" h="840">
                  <a:moveTo>
                    <a:pt x="417" y="29"/>
                  </a:moveTo>
                  <a:cubicBezTo>
                    <a:pt x="381" y="0"/>
                    <a:pt x="295" y="17"/>
                    <a:pt x="249" y="17"/>
                  </a:cubicBezTo>
                  <a:cubicBezTo>
                    <a:pt x="240" y="117"/>
                    <a:pt x="221" y="216"/>
                    <a:pt x="199" y="314"/>
                  </a:cubicBezTo>
                  <a:cubicBezTo>
                    <a:pt x="180" y="398"/>
                    <a:pt x="143" y="481"/>
                    <a:pt x="126" y="565"/>
                  </a:cubicBezTo>
                  <a:cubicBezTo>
                    <a:pt x="112" y="640"/>
                    <a:pt x="80" y="694"/>
                    <a:pt x="20" y="745"/>
                  </a:cubicBezTo>
                  <a:cubicBezTo>
                    <a:pt x="10" y="753"/>
                    <a:pt x="0" y="764"/>
                    <a:pt x="2" y="776"/>
                  </a:cubicBezTo>
                  <a:cubicBezTo>
                    <a:pt x="4" y="783"/>
                    <a:pt x="10" y="788"/>
                    <a:pt x="16" y="792"/>
                  </a:cubicBezTo>
                  <a:cubicBezTo>
                    <a:pt x="77" y="834"/>
                    <a:pt x="155" y="838"/>
                    <a:pt x="228" y="839"/>
                  </a:cubicBezTo>
                  <a:cubicBezTo>
                    <a:pt x="284" y="840"/>
                    <a:pt x="339" y="840"/>
                    <a:pt x="395" y="839"/>
                  </a:cubicBezTo>
                  <a:cubicBezTo>
                    <a:pt x="468" y="838"/>
                    <a:pt x="548" y="829"/>
                    <a:pt x="610" y="788"/>
                  </a:cubicBezTo>
                  <a:cubicBezTo>
                    <a:pt x="614" y="785"/>
                    <a:pt x="618" y="781"/>
                    <a:pt x="619" y="777"/>
                  </a:cubicBezTo>
                  <a:cubicBezTo>
                    <a:pt x="619" y="773"/>
                    <a:pt x="616" y="769"/>
                    <a:pt x="614" y="766"/>
                  </a:cubicBezTo>
                  <a:cubicBezTo>
                    <a:pt x="571" y="706"/>
                    <a:pt x="576" y="607"/>
                    <a:pt x="567" y="538"/>
                  </a:cubicBezTo>
                  <a:cubicBezTo>
                    <a:pt x="558" y="459"/>
                    <a:pt x="548" y="380"/>
                    <a:pt x="529" y="302"/>
                  </a:cubicBezTo>
                  <a:cubicBezTo>
                    <a:pt x="517" y="252"/>
                    <a:pt x="501" y="203"/>
                    <a:pt x="481" y="156"/>
                  </a:cubicBezTo>
                  <a:cubicBezTo>
                    <a:pt x="466" y="119"/>
                    <a:pt x="448" y="60"/>
                    <a:pt x="420" y="32"/>
                  </a:cubicBezTo>
                  <a:cubicBezTo>
                    <a:pt x="419" y="31"/>
                    <a:pt x="418" y="30"/>
                    <a:pt x="417" y="29"/>
                  </a:cubicBezTo>
                  <a:close/>
                </a:path>
              </a:pathLst>
            </a:custGeom>
            <a:solidFill>
              <a:srgbClr val="8CA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" name="íṣľiḑè">
              <a:extLst>
                <a:ext uri="{FF2B5EF4-FFF2-40B4-BE49-F238E27FC236}">
                  <a16:creationId xmlns:a16="http://schemas.microsoft.com/office/drawing/2014/main" id="{A717F9D1-8997-4783-B3CC-04A86E767D7F}"/>
                </a:ext>
              </a:extLst>
            </p:cNvPr>
            <p:cNvSpPr/>
            <p:nvPr/>
          </p:nvSpPr>
          <p:spPr bwMode="auto">
            <a:xfrm>
              <a:off x="5178654" y="2459191"/>
              <a:ext cx="134246" cy="175908"/>
            </a:xfrm>
            <a:custGeom>
              <a:avLst/>
              <a:gdLst>
                <a:gd name="T0" fmla="*/ 2 w 80"/>
                <a:gd name="T1" fmla="*/ 49 h 105"/>
                <a:gd name="T2" fmla="*/ 33 w 80"/>
                <a:gd name="T3" fmla="*/ 0 h 105"/>
                <a:gd name="T4" fmla="*/ 74 w 80"/>
                <a:gd name="T5" fmla="*/ 45 h 105"/>
                <a:gd name="T6" fmla="*/ 61 w 80"/>
                <a:gd name="T7" fmla="*/ 105 h 105"/>
                <a:gd name="T8" fmla="*/ 0 w 80"/>
                <a:gd name="T9" fmla="*/ 49 h 105"/>
                <a:gd name="T10" fmla="*/ 2 w 80"/>
                <a:gd name="T11" fmla="*/ 4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105">
                  <a:moveTo>
                    <a:pt x="2" y="49"/>
                  </a:moveTo>
                  <a:cubicBezTo>
                    <a:pt x="5" y="29"/>
                    <a:pt x="17" y="11"/>
                    <a:pt x="33" y="0"/>
                  </a:cubicBezTo>
                  <a:cubicBezTo>
                    <a:pt x="53" y="7"/>
                    <a:pt x="69" y="25"/>
                    <a:pt x="74" y="45"/>
                  </a:cubicBezTo>
                  <a:cubicBezTo>
                    <a:pt x="80" y="66"/>
                    <a:pt x="75" y="89"/>
                    <a:pt x="61" y="105"/>
                  </a:cubicBezTo>
                  <a:cubicBezTo>
                    <a:pt x="54" y="77"/>
                    <a:pt x="29" y="53"/>
                    <a:pt x="0" y="49"/>
                  </a:cubicBezTo>
                  <a:lnTo>
                    <a:pt x="2" y="49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" name="ïŝḷide">
              <a:extLst>
                <a:ext uri="{FF2B5EF4-FFF2-40B4-BE49-F238E27FC236}">
                  <a16:creationId xmlns:a16="http://schemas.microsoft.com/office/drawing/2014/main" id="{76A7224A-7CB2-4AD4-A542-BDF55E7F637A}"/>
                </a:ext>
              </a:extLst>
            </p:cNvPr>
            <p:cNvSpPr/>
            <p:nvPr/>
          </p:nvSpPr>
          <p:spPr bwMode="auto">
            <a:xfrm>
              <a:off x="5025892" y="2445304"/>
              <a:ext cx="280836" cy="388849"/>
            </a:xfrm>
            <a:custGeom>
              <a:avLst/>
              <a:gdLst>
                <a:gd name="T0" fmla="*/ 125 w 168"/>
                <a:gd name="T1" fmla="*/ 202 h 232"/>
                <a:gd name="T2" fmla="*/ 164 w 168"/>
                <a:gd name="T3" fmla="*/ 146 h 232"/>
                <a:gd name="T4" fmla="*/ 156 w 168"/>
                <a:gd name="T5" fmla="*/ 76 h 232"/>
                <a:gd name="T6" fmla="*/ 18 w 168"/>
                <a:gd name="T7" fmla="*/ 91 h 232"/>
                <a:gd name="T8" fmla="*/ 125 w 168"/>
                <a:gd name="T9" fmla="*/ 20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232">
                  <a:moveTo>
                    <a:pt x="125" y="202"/>
                  </a:moveTo>
                  <a:cubicBezTo>
                    <a:pt x="147" y="192"/>
                    <a:pt x="160" y="169"/>
                    <a:pt x="164" y="146"/>
                  </a:cubicBezTo>
                  <a:cubicBezTo>
                    <a:pt x="168" y="122"/>
                    <a:pt x="164" y="98"/>
                    <a:pt x="156" y="76"/>
                  </a:cubicBezTo>
                  <a:cubicBezTo>
                    <a:pt x="132" y="0"/>
                    <a:pt x="38" y="25"/>
                    <a:pt x="18" y="91"/>
                  </a:cubicBezTo>
                  <a:cubicBezTo>
                    <a:pt x="0" y="149"/>
                    <a:pt x="63" y="232"/>
                    <a:pt x="125" y="202"/>
                  </a:cubicBez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" name="iSlïḑè">
              <a:extLst>
                <a:ext uri="{FF2B5EF4-FFF2-40B4-BE49-F238E27FC236}">
                  <a16:creationId xmlns:a16="http://schemas.microsoft.com/office/drawing/2014/main" id="{86463048-DC9D-4CA6-9528-928B90344F01}"/>
                </a:ext>
              </a:extLst>
            </p:cNvPr>
            <p:cNvSpPr/>
            <p:nvPr/>
          </p:nvSpPr>
          <p:spPr bwMode="auto">
            <a:xfrm>
              <a:off x="4845355" y="2422157"/>
              <a:ext cx="492234" cy="1303880"/>
            </a:xfrm>
            <a:custGeom>
              <a:avLst/>
              <a:gdLst>
                <a:gd name="T0" fmla="*/ 206 w 294"/>
                <a:gd name="T1" fmla="*/ 743 h 780"/>
                <a:gd name="T2" fmla="*/ 222 w 294"/>
                <a:gd name="T3" fmla="*/ 695 h 780"/>
                <a:gd name="T4" fmla="*/ 258 w 294"/>
                <a:gd name="T5" fmla="*/ 674 h 780"/>
                <a:gd name="T6" fmla="*/ 294 w 294"/>
                <a:gd name="T7" fmla="*/ 611 h 780"/>
                <a:gd name="T8" fmla="*/ 274 w 294"/>
                <a:gd name="T9" fmla="*/ 538 h 780"/>
                <a:gd name="T10" fmla="*/ 197 w 294"/>
                <a:gd name="T11" fmla="*/ 280 h 780"/>
                <a:gd name="T12" fmla="*/ 206 w 294"/>
                <a:gd name="T13" fmla="*/ 186 h 780"/>
                <a:gd name="T14" fmla="*/ 218 w 294"/>
                <a:gd name="T15" fmla="*/ 102 h 780"/>
                <a:gd name="T16" fmla="*/ 236 w 294"/>
                <a:gd name="T17" fmla="*/ 50 h 780"/>
                <a:gd name="T18" fmla="*/ 222 w 294"/>
                <a:gd name="T19" fmla="*/ 18 h 780"/>
                <a:gd name="T20" fmla="*/ 174 w 294"/>
                <a:gd name="T21" fmla="*/ 2 h 780"/>
                <a:gd name="T22" fmla="*/ 57 w 294"/>
                <a:gd name="T23" fmla="*/ 116 h 780"/>
                <a:gd name="T24" fmla="*/ 72 w 294"/>
                <a:gd name="T25" fmla="*/ 280 h 780"/>
                <a:gd name="T26" fmla="*/ 42 w 294"/>
                <a:gd name="T27" fmla="*/ 533 h 780"/>
                <a:gd name="T28" fmla="*/ 4 w 294"/>
                <a:gd name="T29" fmla="*/ 627 h 780"/>
                <a:gd name="T30" fmla="*/ 47 w 294"/>
                <a:gd name="T31" fmla="*/ 712 h 780"/>
                <a:gd name="T32" fmla="*/ 85 w 294"/>
                <a:gd name="T33" fmla="*/ 724 h 780"/>
                <a:gd name="T34" fmla="*/ 91 w 294"/>
                <a:gd name="T35" fmla="*/ 757 h 780"/>
                <a:gd name="T36" fmla="*/ 138 w 294"/>
                <a:gd name="T37" fmla="*/ 753 h 780"/>
                <a:gd name="T38" fmla="*/ 206 w 294"/>
                <a:gd name="T39" fmla="*/ 743 h 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4" h="780">
                  <a:moveTo>
                    <a:pt x="206" y="743"/>
                  </a:moveTo>
                  <a:cubicBezTo>
                    <a:pt x="220" y="732"/>
                    <a:pt x="218" y="712"/>
                    <a:pt x="222" y="695"/>
                  </a:cubicBezTo>
                  <a:cubicBezTo>
                    <a:pt x="225" y="678"/>
                    <a:pt x="246" y="661"/>
                    <a:pt x="258" y="674"/>
                  </a:cubicBezTo>
                  <a:cubicBezTo>
                    <a:pt x="281" y="665"/>
                    <a:pt x="294" y="637"/>
                    <a:pt x="294" y="611"/>
                  </a:cubicBezTo>
                  <a:cubicBezTo>
                    <a:pt x="294" y="586"/>
                    <a:pt x="283" y="561"/>
                    <a:pt x="274" y="538"/>
                  </a:cubicBezTo>
                  <a:cubicBezTo>
                    <a:pt x="238" y="453"/>
                    <a:pt x="197" y="373"/>
                    <a:pt x="197" y="280"/>
                  </a:cubicBezTo>
                  <a:cubicBezTo>
                    <a:pt x="197" y="248"/>
                    <a:pt x="201" y="217"/>
                    <a:pt x="206" y="186"/>
                  </a:cubicBezTo>
                  <a:cubicBezTo>
                    <a:pt x="210" y="158"/>
                    <a:pt x="213" y="130"/>
                    <a:pt x="218" y="102"/>
                  </a:cubicBezTo>
                  <a:cubicBezTo>
                    <a:pt x="221" y="84"/>
                    <a:pt x="234" y="68"/>
                    <a:pt x="236" y="50"/>
                  </a:cubicBezTo>
                  <a:cubicBezTo>
                    <a:pt x="237" y="38"/>
                    <a:pt x="230" y="26"/>
                    <a:pt x="222" y="18"/>
                  </a:cubicBezTo>
                  <a:cubicBezTo>
                    <a:pt x="208" y="5"/>
                    <a:pt x="193" y="0"/>
                    <a:pt x="174" y="2"/>
                  </a:cubicBezTo>
                  <a:cubicBezTo>
                    <a:pt x="110" y="8"/>
                    <a:pt x="67" y="52"/>
                    <a:pt x="57" y="116"/>
                  </a:cubicBezTo>
                  <a:cubicBezTo>
                    <a:pt x="48" y="171"/>
                    <a:pt x="62" y="226"/>
                    <a:pt x="72" y="280"/>
                  </a:cubicBezTo>
                  <a:cubicBezTo>
                    <a:pt x="87" y="362"/>
                    <a:pt x="82" y="459"/>
                    <a:pt x="42" y="533"/>
                  </a:cubicBezTo>
                  <a:cubicBezTo>
                    <a:pt x="26" y="563"/>
                    <a:pt x="8" y="593"/>
                    <a:pt x="4" y="627"/>
                  </a:cubicBezTo>
                  <a:cubicBezTo>
                    <a:pt x="0" y="661"/>
                    <a:pt x="15" y="700"/>
                    <a:pt x="47" y="712"/>
                  </a:cubicBezTo>
                  <a:cubicBezTo>
                    <a:pt x="60" y="717"/>
                    <a:pt x="74" y="717"/>
                    <a:pt x="85" y="724"/>
                  </a:cubicBezTo>
                  <a:cubicBezTo>
                    <a:pt x="97" y="731"/>
                    <a:pt x="100" y="746"/>
                    <a:pt x="91" y="757"/>
                  </a:cubicBezTo>
                  <a:cubicBezTo>
                    <a:pt x="108" y="780"/>
                    <a:pt x="121" y="760"/>
                    <a:pt x="138" y="753"/>
                  </a:cubicBezTo>
                  <a:cubicBezTo>
                    <a:pt x="159" y="745"/>
                    <a:pt x="188" y="756"/>
                    <a:pt x="206" y="743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" name="îṩḷîḍè">
              <a:extLst>
                <a:ext uri="{FF2B5EF4-FFF2-40B4-BE49-F238E27FC236}">
                  <a16:creationId xmlns:a16="http://schemas.microsoft.com/office/drawing/2014/main" id="{B0C26AF6-41F1-4CBF-9911-F123154EF03A}"/>
                </a:ext>
              </a:extLst>
            </p:cNvPr>
            <p:cNvSpPr/>
            <p:nvPr/>
          </p:nvSpPr>
          <p:spPr bwMode="auto">
            <a:xfrm>
              <a:off x="5265065" y="2528628"/>
              <a:ext cx="640367" cy="422796"/>
            </a:xfrm>
            <a:custGeom>
              <a:avLst/>
              <a:gdLst>
                <a:gd name="T0" fmla="*/ 0 w 415"/>
                <a:gd name="T1" fmla="*/ 152 h 274"/>
                <a:gd name="T2" fmla="*/ 237 w 415"/>
                <a:gd name="T3" fmla="*/ 135 h 274"/>
                <a:gd name="T4" fmla="*/ 357 w 415"/>
                <a:gd name="T5" fmla="*/ 0 h 274"/>
                <a:gd name="T6" fmla="*/ 415 w 415"/>
                <a:gd name="T7" fmla="*/ 36 h 274"/>
                <a:gd name="T8" fmla="*/ 285 w 415"/>
                <a:gd name="T9" fmla="*/ 219 h 274"/>
                <a:gd name="T10" fmla="*/ 29 w 415"/>
                <a:gd name="T11" fmla="*/ 274 h 274"/>
                <a:gd name="T12" fmla="*/ 0 w 415"/>
                <a:gd name="T13" fmla="*/ 152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5" h="274">
                  <a:moveTo>
                    <a:pt x="0" y="152"/>
                  </a:moveTo>
                  <a:lnTo>
                    <a:pt x="237" y="135"/>
                  </a:lnTo>
                  <a:lnTo>
                    <a:pt x="357" y="0"/>
                  </a:lnTo>
                  <a:lnTo>
                    <a:pt x="415" y="36"/>
                  </a:lnTo>
                  <a:lnTo>
                    <a:pt x="285" y="219"/>
                  </a:lnTo>
                  <a:lnTo>
                    <a:pt x="29" y="274"/>
                  </a:lnTo>
                  <a:lnTo>
                    <a:pt x="0" y="152"/>
                  </a:lnTo>
                  <a:close/>
                </a:path>
              </a:pathLst>
            </a:custGeom>
            <a:solidFill>
              <a:srgbClr val="8CA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" name="išlíďe">
              <a:extLst>
                <a:ext uri="{FF2B5EF4-FFF2-40B4-BE49-F238E27FC236}">
                  <a16:creationId xmlns:a16="http://schemas.microsoft.com/office/drawing/2014/main" id="{4F797EE0-D9FC-426C-9486-D053BF2F87B0}"/>
                </a:ext>
              </a:extLst>
            </p:cNvPr>
            <p:cNvSpPr/>
            <p:nvPr/>
          </p:nvSpPr>
          <p:spPr bwMode="auto">
            <a:xfrm>
              <a:off x="5837538" y="2459191"/>
              <a:ext cx="118816" cy="115729"/>
            </a:xfrm>
            <a:custGeom>
              <a:avLst/>
              <a:gdLst>
                <a:gd name="T0" fmla="*/ 0 w 77"/>
                <a:gd name="T1" fmla="*/ 54 h 75"/>
                <a:gd name="T2" fmla="*/ 12 w 77"/>
                <a:gd name="T3" fmla="*/ 12 h 75"/>
                <a:gd name="T4" fmla="*/ 27 w 77"/>
                <a:gd name="T5" fmla="*/ 12 h 75"/>
                <a:gd name="T6" fmla="*/ 32 w 77"/>
                <a:gd name="T7" fmla="*/ 0 h 75"/>
                <a:gd name="T8" fmla="*/ 55 w 77"/>
                <a:gd name="T9" fmla="*/ 0 h 75"/>
                <a:gd name="T10" fmla="*/ 77 w 77"/>
                <a:gd name="T11" fmla="*/ 31 h 75"/>
                <a:gd name="T12" fmla="*/ 35 w 77"/>
                <a:gd name="T13" fmla="*/ 75 h 75"/>
                <a:gd name="T14" fmla="*/ 0 w 77"/>
                <a:gd name="T15" fmla="*/ 5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75">
                  <a:moveTo>
                    <a:pt x="0" y="54"/>
                  </a:moveTo>
                  <a:lnTo>
                    <a:pt x="12" y="12"/>
                  </a:lnTo>
                  <a:lnTo>
                    <a:pt x="27" y="12"/>
                  </a:lnTo>
                  <a:lnTo>
                    <a:pt x="32" y="0"/>
                  </a:lnTo>
                  <a:lnTo>
                    <a:pt x="55" y="0"/>
                  </a:lnTo>
                  <a:lnTo>
                    <a:pt x="77" y="31"/>
                  </a:lnTo>
                  <a:lnTo>
                    <a:pt x="35" y="75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" name="iṡ1ïďe">
              <a:extLst>
                <a:ext uri="{FF2B5EF4-FFF2-40B4-BE49-F238E27FC236}">
                  <a16:creationId xmlns:a16="http://schemas.microsoft.com/office/drawing/2014/main" id="{BF0CBB2D-DF99-4623-9DBA-DC399E7799D5}"/>
                </a:ext>
              </a:extLst>
            </p:cNvPr>
            <p:cNvSpPr/>
            <p:nvPr/>
          </p:nvSpPr>
          <p:spPr bwMode="auto">
            <a:xfrm>
              <a:off x="5837538" y="2361979"/>
              <a:ext cx="60180" cy="115729"/>
            </a:xfrm>
            <a:custGeom>
              <a:avLst/>
              <a:gdLst>
                <a:gd name="T0" fmla="*/ 12 w 39"/>
                <a:gd name="T1" fmla="*/ 75 h 75"/>
                <a:gd name="T2" fmla="*/ 0 w 39"/>
                <a:gd name="T3" fmla="*/ 9 h 75"/>
                <a:gd name="T4" fmla="*/ 22 w 39"/>
                <a:gd name="T5" fmla="*/ 0 h 75"/>
                <a:gd name="T6" fmla="*/ 39 w 39"/>
                <a:gd name="T7" fmla="*/ 75 h 75"/>
                <a:gd name="T8" fmla="*/ 12 w 39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75">
                  <a:moveTo>
                    <a:pt x="12" y="75"/>
                  </a:moveTo>
                  <a:lnTo>
                    <a:pt x="0" y="9"/>
                  </a:lnTo>
                  <a:lnTo>
                    <a:pt x="22" y="0"/>
                  </a:lnTo>
                  <a:lnTo>
                    <a:pt x="39" y="75"/>
                  </a:lnTo>
                  <a:lnTo>
                    <a:pt x="12" y="7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" name="ïṩ1ïḑè">
              <a:extLst>
                <a:ext uri="{FF2B5EF4-FFF2-40B4-BE49-F238E27FC236}">
                  <a16:creationId xmlns:a16="http://schemas.microsoft.com/office/drawing/2014/main" id="{3E9072EC-130F-4C37-AB1D-91ABF132FF5F}"/>
                </a:ext>
              </a:extLst>
            </p:cNvPr>
            <p:cNvSpPr/>
            <p:nvPr/>
          </p:nvSpPr>
          <p:spPr bwMode="auto">
            <a:xfrm>
              <a:off x="7112100" y="4736737"/>
              <a:ext cx="183624" cy="158935"/>
            </a:xfrm>
            <a:custGeom>
              <a:avLst/>
              <a:gdLst>
                <a:gd name="T0" fmla="*/ 1 w 110"/>
                <a:gd name="T1" fmla="*/ 54 h 95"/>
                <a:gd name="T2" fmla="*/ 47 w 110"/>
                <a:gd name="T3" fmla="*/ 12 h 95"/>
                <a:gd name="T4" fmla="*/ 86 w 110"/>
                <a:gd name="T5" fmla="*/ 0 h 95"/>
                <a:gd name="T6" fmla="*/ 105 w 110"/>
                <a:gd name="T7" fmla="*/ 9 h 95"/>
                <a:gd name="T8" fmla="*/ 107 w 110"/>
                <a:gd name="T9" fmla="*/ 30 h 95"/>
                <a:gd name="T10" fmla="*/ 103 w 110"/>
                <a:gd name="T11" fmla="*/ 36 h 95"/>
                <a:gd name="T12" fmla="*/ 103 w 110"/>
                <a:gd name="T13" fmla="*/ 36 h 95"/>
                <a:gd name="T14" fmla="*/ 103 w 110"/>
                <a:gd name="T15" fmla="*/ 36 h 95"/>
                <a:gd name="T16" fmla="*/ 99 w 110"/>
                <a:gd name="T17" fmla="*/ 41 h 95"/>
                <a:gd name="T18" fmla="*/ 95 w 110"/>
                <a:gd name="T19" fmla="*/ 44 h 95"/>
                <a:gd name="T20" fmla="*/ 64 w 110"/>
                <a:gd name="T21" fmla="*/ 75 h 95"/>
                <a:gd name="T22" fmla="*/ 11 w 110"/>
                <a:gd name="T23" fmla="*/ 79 h 95"/>
                <a:gd name="T24" fmla="*/ 11 w 110"/>
                <a:gd name="T25" fmla="*/ 78 h 95"/>
                <a:gd name="T26" fmla="*/ 1 w 110"/>
                <a:gd name="T27" fmla="*/ 54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0" h="95">
                  <a:moveTo>
                    <a:pt x="1" y="54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60" y="5"/>
                    <a:pt x="74" y="0"/>
                    <a:pt x="86" y="0"/>
                  </a:cubicBezTo>
                  <a:cubicBezTo>
                    <a:pt x="94" y="0"/>
                    <a:pt x="101" y="3"/>
                    <a:pt x="105" y="9"/>
                  </a:cubicBezTo>
                  <a:cubicBezTo>
                    <a:pt x="109" y="15"/>
                    <a:pt x="110" y="23"/>
                    <a:pt x="107" y="30"/>
                  </a:cubicBezTo>
                  <a:cubicBezTo>
                    <a:pt x="106" y="32"/>
                    <a:pt x="104" y="34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2" y="38"/>
                    <a:pt x="100" y="39"/>
                    <a:pt x="99" y="41"/>
                  </a:cubicBezTo>
                  <a:cubicBezTo>
                    <a:pt x="98" y="42"/>
                    <a:pt x="97" y="43"/>
                    <a:pt x="95" y="44"/>
                  </a:cubicBezTo>
                  <a:cubicBezTo>
                    <a:pt x="86" y="54"/>
                    <a:pt x="70" y="71"/>
                    <a:pt x="64" y="75"/>
                  </a:cubicBezTo>
                  <a:cubicBezTo>
                    <a:pt x="55" y="80"/>
                    <a:pt x="34" y="95"/>
                    <a:pt x="11" y="79"/>
                  </a:cubicBezTo>
                  <a:cubicBezTo>
                    <a:pt x="11" y="78"/>
                    <a:pt x="11" y="78"/>
                    <a:pt x="11" y="78"/>
                  </a:cubicBezTo>
                  <a:cubicBezTo>
                    <a:pt x="2" y="72"/>
                    <a:pt x="0" y="63"/>
                    <a:pt x="1" y="54"/>
                  </a:cubicBezTo>
                  <a:close/>
                </a:path>
              </a:pathLst>
            </a:custGeom>
            <a:solidFill>
              <a:srgbClr val="3C3C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" name="iŝľídê">
              <a:extLst>
                <a:ext uri="{FF2B5EF4-FFF2-40B4-BE49-F238E27FC236}">
                  <a16:creationId xmlns:a16="http://schemas.microsoft.com/office/drawing/2014/main" id="{1707C53D-B699-4555-9329-1D65D5D9B6AF}"/>
                </a:ext>
              </a:extLst>
            </p:cNvPr>
            <p:cNvSpPr/>
            <p:nvPr/>
          </p:nvSpPr>
          <p:spPr bwMode="auto">
            <a:xfrm>
              <a:off x="7173822" y="4205926"/>
              <a:ext cx="152763" cy="615679"/>
            </a:xfrm>
            <a:custGeom>
              <a:avLst/>
              <a:gdLst>
                <a:gd name="T0" fmla="*/ 0 w 91"/>
                <a:gd name="T1" fmla="*/ 4 h 368"/>
                <a:gd name="T2" fmla="*/ 4 w 91"/>
                <a:gd name="T3" fmla="*/ 57 h 368"/>
                <a:gd name="T4" fmla="*/ 22 w 91"/>
                <a:gd name="T5" fmla="*/ 314 h 368"/>
                <a:gd name="T6" fmla="*/ 4 w 91"/>
                <a:gd name="T7" fmla="*/ 344 h 368"/>
                <a:gd name="T8" fmla="*/ 28 w 91"/>
                <a:gd name="T9" fmla="*/ 366 h 368"/>
                <a:gd name="T10" fmla="*/ 65 w 91"/>
                <a:gd name="T11" fmla="*/ 329 h 368"/>
                <a:gd name="T12" fmla="*/ 61 w 91"/>
                <a:gd name="T13" fmla="*/ 312 h 368"/>
                <a:gd name="T14" fmla="*/ 81 w 91"/>
                <a:gd name="T15" fmla="*/ 118 h 368"/>
                <a:gd name="T16" fmla="*/ 81 w 91"/>
                <a:gd name="T17" fmla="*/ 62 h 368"/>
                <a:gd name="T18" fmla="*/ 91 w 91"/>
                <a:gd name="T19" fmla="*/ 0 h 368"/>
                <a:gd name="T20" fmla="*/ 0 w 91"/>
                <a:gd name="T21" fmla="*/ 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1" h="368">
                  <a:moveTo>
                    <a:pt x="0" y="4"/>
                  </a:moveTo>
                  <a:cubicBezTo>
                    <a:pt x="4" y="57"/>
                    <a:pt x="4" y="57"/>
                    <a:pt x="4" y="57"/>
                  </a:cubicBezTo>
                  <a:cubicBezTo>
                    <a:pt x="22" y="314"/>
                    <a:pt x="22" y="314"/>
                    <a:pt x="22" y="314"/>
                  </a:cubicBezTo>
                  <a:cubicBezTo>
                    <a:pt x="4" y="344"/>
                    <a:pt x="4" y="344"/>
                    <a:pt x="4" y="344"/>
                  </a:cubicBezTo>
                  <a:cubicBezTo>
                    <a:pt x="4" y="344"/>
                    <a:pt x="0" y="368"/>
                    <a:pt x="28" y="366"/>
                  </a:cubicBezTo>
                  <a:cubicBezTo>
                    <a:pt x="36" y="366"/>
                    <a:pt x="65" y="329"/>
                    <a:pt x="65" y="329"/>
                  </a:cubicBezTo>
                  <a:cubicBezTo>
                    <a:pt x="61" y="312"/>
                    <a:pt x="61" y="312"/>
                    <a:pt x="61" y="312"/>
                  </a:cubicBezTo>
                  <a:cubicBezTo>
                    <a:pt x="81" y="118"/>
                    <a:pt x="81" y="118"/>
                    <a:pt x="81" y="118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91" y="0"/>
                    <a:pt x="91" y="0"/>
                    <a:pt x="91" y="0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E8C8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" name="íṣḻîďe">
              <a:extLst>
                <a:ext uri="{FF2B5EF4-FFF2-40B4-BE49-F238E27FC236}">
                  <a16:creationId xmlns:a16="http://schemas.microsoft.com/office/drawing/2014/main" id="{F6234B49-8329-4B2B-87EF-CB9BB5EFC0C6}"/>
                </a:ext>
              </a:extLst>
            </p:cNvPr>
            <p:cNvSpPr/>
            <p:nvPr/>
          </p:nvSpPr>
          <p:spPr bwMode="auto">
            <a:xfrm>
              <a:off x="7537983" y="4713591"/>
              <a:ext cx="174365" cy="197511"/>
            </a:xfrm>
            <a:custGeom>
              <a:avLst/>
              <a:gdLst>
                <a:gd name="T0" fmla="*/ 71 w 104"/>
                <a:gd name="T1" fmla="*/ 2 h 118"/>
                <a:gd name="T2" fmla="*/ 94 w 104"/>
                <a:gd name="T3" fmla="*/ 5 h 118"/>
                <a:gd name="T4" fmla="*/ 103 w 104"/>
                <a:gd name="T5" fmla="*/ 25 h 118"/>
                <a:gd name="T6" fmla="*/ 98 w 104"/>
                <a:gd name="T7" fmla="*/ 40 h 118"/>
                <a:gd name="T8" fmla="*/ 21 w 104"/>
                <a:gd name="T9" fmla="*/ 108 h 118"/>
                <a:gd name="T10" fmla="*/ 3 w 104"/>
                <a:gd name="T11" fmla="*/ 75 h 118"/>
                <a:gd name="T12" fmla="*/ 71 w 104"/>
                <a:gd name="T13" fmla="*/ 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118">
                  <a:moveTo>
                    <a:pt x="71" y="2"/>
                  </a:moveTo>
                  <a:cubicBezTo>
                    <a:pt x="80" y="0"/>
                    <a:pt x="88" y="0"/>
                    <a:pt x="94" y="5"/>
                  </a:cubicBezTo>
                  <a:cubicBezTo>
                    <a:pt x="100" y="10"/>
                    <a:pt x="104" y="18"/>
                    <a:pt x="103" y="25"/>
                  </a:cubicBezTo>
                  <a:cubicBezTo>
                    <a:pt x="103" y="30"/>
                    <a:pt x="100" y="35"/>
                    <a:pt x="98" y="40"/>
                  </a:cubicBezTo>
                  <a:cubicBezTo>
                    <a:pt x="87" y="64"/>
                    <a:pt x="56" y="118"/>
                    <a:pt x="21" y="108"/>
                  </a:cubicBezTo>
                  <a:cubicBezTo>
                    <a:pt x="6" y="103"/>
                    <a:pt x="0" y="88"/>
                    <a:pt x="3" y="75"/>
                  </a:cubicBezTo>
                  <a:cubicBezTo>
                    <a:pt x="8" y="55"/>
                    <a:pt x="43" y="11"/>
                    <a:pt x="71" y="2"/>
                  </a:cubicBezTo>
                  <a:close/>
                </a:path>
              </a:pathLst>
            </a:custGeom>
            <a:solidFill>
              <a:srgbClr val="3C3C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4" name="iṣlïdé">
              <a:extLst>
                <a:ext uri="{FF2B5EF4-FFF2-40B4-BE49-F238E27FC236}">
                  <a16:creationId xmlns:a16="http://schemas.microsoft.com/office/drawing/2014/main" id="{DDF15E1B-7E58-453B-A3DE-D41759F7BA1D}"/>
                </a:ext>
              </a:extLst>
            </p:cNvPr>
            <p:cNvSpPr/>
            <p:nvPr/>
          </p:nvSpPr>
          <p:spPr bwMode="auto">
            <a:xfrm>
              <a:off x="7358989" y="4127231"/>
              <a:ext cx="336386" cy="685115"/>
            </a:xfrm>
            <a:custGeom>
              <a:avLst/>
              <a:gdLst>
                <a:gd name="T0" fmla="*/ 0 w 201"/>
                <a:gd name="T1" fmla="*/ 20 h 409"/>
                <a:gd name="T2" fmla="*/ 6 w 201"/>
                <a:gd name="T3" fmla="*/ 96 h 409"/>
                <a:gd name="T4" fmla="*/ 155 w 201"/>
                <a:gd name="T5" fmla="*/ 365 h 409"/>
                <a:gd name="T6" fmla="*/ 147 w 201"/>
                <a:gd name="T7" fmla="*/ 406 h 409"/>
                <a:gd name="T8" fmla="*/ 201 w 201"/>
                <a:gd name="T9" fmla="*/ 355 h 409"/>
                <a:gd name="T10" fmla="*/ 124 w 201"/>
                <a:gd name="T11" fmla="*/ 130 h 409"/>
                <a:gd name="T12" fmla="*/ 95 w 201"/>
                <a:gd name="T13" fmla="*/ 85 h 409"/>
                <a:gd name="T14" fmla="*/ 95 w 201"/>
                <a:gd name="T15" fmla="*/ 0 h 409"/>
                <a:gd name="T16" fmla="*/ 0 w 201"/>
                <a:gd name="T17" fmla="*/ 20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1" h="409">
                  <a:moveTo>
                    <a:pt x="0" y="20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155" y="365"/>
                    <a:pt x="155" y="365"/>
                    <a:pt x="155" y="365"/>
                  </a:cubicBezTo>
                  <a:cubicBezTo>
                    <a:pt x="155" y="365"/>
                    <a:pt x="134" y="403"/>
                    <a:pt x="147" y="406"/>
                  </a:cubicBezTo>
                  <a:cubicBezTo>
                    <a:pt x="161" y="409"/>
                    <a:pt x="201" y="398"/>
                    <a:pt x="201" y="355"/>
                  </a:cubicBezTo>
                  <a:cubicBezTo>
                    <a:pt x="185" y="304"/>
                    <a:pt x="124" y="130"/>
                    <a:pt x="124" y="130"/>
                  </a:cubicBezTo>
                  <a:cubicBezTo>
                    <a:pt x="95" y="85"/>
                    <a:pt x="95" y="85"/>
                    <a:pt x="95" y="85"/>
                  </a:cubicBezTo>
                  <a:cubicBezTo>
                    <a:pt x="95" y="0"/>
                    <a:pt x="95" y="0"/>
                    <a:pt x="95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E8C8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" name="ïṥḷîďê">
              <a:extLst>
                <a:ext uri="{FF2B5EF4-FFF2-40B4-BE49-F238E27FC236}">
                  <a16:creationId xmlns:a16="http://schemas.microsoft.com/office/drawing/2014/main" id="{E1599B3A-8A0D-49AC-AFD3-97D85BCFB9AF}"/>
                </a:ext>
              </a:extLst>
            </p:cNvPr>
            <p:cNvSpPr/>
            <p:nvPr/>
          </p:nvSpPr>
          <p:spPr bwMode="auto">
            <a:xfrm>
              <a:off x="7078153" y="2738484"/>
              <a:ext cx="566301" cy="1504477"/>
            </a:xfrm>
            <a:custGeom>
              <a:avLst/>
              <a:gdLst>
                <a:gd name="T0" fmla="*/ 337 w 338"/>
                <a:gd name="T1" fmla="*/ 596 h 900"/>
                <a:gd name="T2" fmla="*/ 323 w 338"/>
                <a:gd name="T3" fmla="*/ 494 h 900"/>
                <a:gd name="T4" fmla="*/ 291 w 338"/>
                <a:gd name="T5" fmla="*/ 318 h 900"/>
                <a:gd name="T6" fmla="*/ 319 w 338"/>
                <a:gd name="T7" fmla="*/ 58 h 900"/>
                <a:gd name="T8" fmla="*/ 223 w 338"/>
                <a:gd name="T9" fmla="*/ 0 h 900"/>
                <a:gd name="T10" fmla="*/ 108 w 338"/>
                <a:gd name="T11" fmla="*/ 4 h 900"/>
                <a:gd name="T12" fmla="*/ 44 w 338"/>
                <a:gd name="T13" fmla="*/ 25 h 900"/>
                <a:gd name="T14" fmla="*/ 26 w 338"/>
                <a:gd name="T15" fmla="*/ 353 h 900"/>
                <a:gd name="T16" fmla="*/ 15 w 338"/>
                <a:gd name="T17" fmla="*/ 526 h 900"/>
                <a:gd name="T18" fmla="*/ 22 w 338"/>
                <a:gd name="T19" fmla="*/ 839 h 900"/>
                <a:gd name="T20" fmla="*/ 30 w 338"/>
                <a:gd name="T21" fmla="*/ 897 h 900"/>
                <a:gd name="T22" fmla="*/ 30 w 338"/>
                <a:gd name="T23" fmla="*/ 900 h 900"/>
                <a:gd name="T24" fmla="*/ 31 w 338"/>
                <a:gd name="T25" fmla="*/ 900 h 900"/>
                <a:gd name="T26" fmla="*/ 287 w 338"/>
                <a:gd name="T27" fmla="*/ 900 h 900"/>
                <a:gd name="T28" fmla="*/ 287 w 338"/>
                <a:gd name="T29" fmla="*/ 807 h 900"/>
                <a:gd name="T30" fmla="*/ 311 w 338"/>
                <a:gd name="T31" fmla="*/ 718 h 900"/>
                <a:gd name="T32" fmla="*/ 337 w 338"/>
                <a:gd name="T33" fmla="*/ 596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8" h="900">
                  <a:moveTo>
                    <a:pt x="337" y="596"/>
                  </a:moveTo>
                  <a:cubicBezTo>
                    <a:pt x="338" y="574"/>
                    <a:pt x="331" y="515"/>
                    <a:pt x="323" y="494"/>
                  </a:cubicBezTo>
                  <a:cubicBezTo>
                    <a:pt x="296" y="418"/>
                    <a:pt x="291" y="380"/>
                    <a:pt x="291" y="318"/>
                  </a:cubicBezTo>
                  <a:cubicBezTo>
                    <a:pt x="291" y="255"/>
                    <a:pt x="319" y="58"/>
                    <a:pt x="319" y="58"/>
                  </a:cubicBezTo>
                  <a:cubicBezTo>
                    <a:pt x="223" y="0"/>
                    <a:pt x="223" y="0"/>
                    <a:pt x="223" y="0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30" y="273"/>
                    <a:pt x="26" y="353"/>
                  </a:cubicBezTo>
                  <a:cubicBezTo>
                    <a:pt x="24" y="410"/>
                    <a:pt x="20" y="460"/>
                    <a:pt x="15" y="526"/>
                  </a:cubicBezTo>
                  <a:cubicBezTo>
                    <a:pt x="15" y="526"/>
                    <a:pt x="0" y="677"/>
                    <a:pt x="22" y="839"/>
                  </a:cubicBezTo>
                  <a:cubicBezTo>
                    <a:pt x="22" y="839"/>
                    <a:pt x="28" y="893"/>
                    <a:pt x="30" y="897"/>
                  </a:cubicBezTo>
                  <a:cubicBezTo>
                    <a:pt x="30" y="899"/>
                    <a:pt x="30" y="900"/>
                    <a:pt x="30" y="900"/>
                  </a:cubicBezTo>
                  <a:cubicBezTo>
                    <a:pt x="31" y="900"/>
                    <a:pt x="31" y="900"/>
                    <a:pt x="31" y="900"/>
                  </a:cubicBezTo>
                  <a:cubicBezTo>
                    <a:pt x="287" y="900"/>
                    <a:pt x="287" y="900"/>
                    <a:pt x="287" y="900"/>
                  </a:cubicBezTo>
                  <a:cubicBezTo>
                    <a:pt x="287" y="807"/>
                    <a:pt x="287" y="807"/>
                    <a:pt x="287" y="807"/>
                  </a:cubicBezTo>
                  <a:cubicBezTo>
                    <a:pt x="296" y="778"/>
                    <a:pt x="304" y="748"/>
                    <a:pt x="311" y="718"/>
                  </a:cubicBezTo>
                  <a:cubicBezTo>
                    <a:pt x="321" y="680"/>
                    <a:pt x="334" y="638"/>
                    <a:pt x="337" y="596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6" name="ïS1iḋe">
              <a:extLst>
                <a:ext uri="{FF2B5EF4-FFF2-40B4-BE49-F238E27FC236}">
                  <a16:creationId xmlns:a16="http://schemas.microsoft.com/office/drawing/2014/main" id="{08A87FBE-8739-4944-BEC7-D7D48F10B446}"/>
                </a:ext>
              </a:extLst>
            </p:cNvPr>
            <p:cNvSpPr/>
            <p:nvPr/>
          </p:nvSpPr>
          <p:spPr bwMode="auto">
            <a:xfrm>
              <a:off x="7142961" y="2434502"/>
              <a:ext cx="145047" cy="334843"/>
            </a:xfrm>
            <a:custGeom>
              <a:avLst/>
              <a:gdLst>
                <a:gd name="T0" fmla="*/ 39 w 86"/>
                <a:gd name="T1" fmla="*/ 103 h 201"/>
                <a:gd name="T2" fmla="*/ 58 w 86"/>
                <a:gd name="T3" fmla="*/ 165 h 201"/>
                <a:gd name="T4" fmla="*/ 64 w 86"/>
                <a:gd name="T5" fmla="*/ 191 h 201"/>
                <a:gd name="T6" fmla="*/ 33 w 86"/>
                <a:gd name="T7" fmla="*/ 192 h 201"/>
                <a:gd name="T8" fmla="*/ 24 w 86"/>
                <a:gd name="T9" fmla="*/ 173 h 201"/>
                <a:gd name="T10" fmla="*/ 3 w 86"/>
                <a:gd name="T11" fmla="*/ 70 h 201"/>
                <a:gd name="T12" fmla="*/ 68 w 86"/>
                <a:gd name="T13" fmla="*/ 16 h 201"/>
                <a:gd name="T14" fmla="*/ 80 w 86"/>
                <a:gd name="T15" fmla="*/ 30 h 201"/>
                <a:gd name="T16" fmla="*/ 84 w 86"/>
                <a:gd name="T17" fmla="*/ 40 h 201"/>
                <a:gd name="T18" fmla="*/ 63 w 86"/>
                <a:gd name="T19" fmla="*/ 66 h 201"/>
                <a:gd name="T20" fmla="*/ 39 w 86"/>
                <a:gd name="T21" fmla="*/ 103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201">
                  <a:moveTo>
                    <a:pt x="39" y="103"/>
                  </a:moveTo>
                  <a:cubicBezTo>
                    <a:pt x="34" y="125"/>
                    <a:pt x="47" y="146"/>
                    <a:pt x="58" y="165"/>
                  </a:cubicBezTo>
                  <a:cubicBezTo>
                    <a:pt x="63" y="172"/>
                    <a:pt x="70" y="183"/>
                    <a:pt x="64" y="191"/>
                  </a:cubicBezTo>
                  <a:cubicBezTo>
                    <a:pt x="57" y="201"/>
                    <a:pt x="41" y="199"/>
                    <a:pt x="33" y="192"/>
                  </a:cubicBezTo>
                  <a:cubicBezTo>
                    <a:pt x="28" y="187"/>
                    <a:pt x="26" y="180"/>
                    <a:pt x="24" y="173"/>
                  </a:cubicBezTo>
                  <a:cubicBezTo>
                    <a:pt x="14" y="143"/>
                    <a:pt x="0" y="101"/>
                    <a:pt x="3" y="70"/>
                  </a:cubicBezTo>
                  <a:cubicBezTo>
                    <a:pt x="5" y="45"/>
                    <a:pt x="36" y="0"/>
                    <a:pt x="68" y="16"/>
                  </a:cubicBezTo>
                  <a:cubicBezTo>
                    <a:pt x="73" y="19"/>
                    <a:pt x="77" y="24"/>
                    <a:pt x="80" y="30"/>
                  </a:cubicBezTo>
                  <a:cubicBezTo>
                    <a:pt x="82" y="33"/>
                    <a:pt x="84" y="36"/>
                    <a:pt x="84" y="40"/>
                  </a:cubicBezTo>
                  <a:cubicBezTo>
                    <a:pt x="86" y="54"/>
                    <a:pt x="72" y="58"/>
                    <a:pt x="63" y="66"/>
                  </a:cubicBezTo>
                  <a:cubicBezTo>
                    <a:pt x="51" y="76"/>
                    <a:pt x="43" y="89"/>
                    <a:pt x="39" y="103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7" name="išḻíḑé">
              <a:extLst>
                <a:ext uri="{FF2B5EF4-FFF2-40B4-BE49-F238E27FC236}">
                  <a16:creationId xmlns:a16="http://schemas.microsoft.com/office/drawing/2014/main" id="{59DFC098-06CD-4B7C-A265-A6BA444B0B1C}"/>
                </a:ext>
              </a:extLst>
            </p:cNvPr>
            <p:cNvSpPr/>
            <p:nvPr/>
          </p:nvSpPr>
          <p:spPr bwMode="auto">
            <a:xfrm>
              <a:off x="7196968" y="2462277"/>
              <a:ext cx="259233" cy="287008"/>
            </a:xfrm>
            <a:custGeom>
              <a:avLst/>
              <a:gdLst>
                <a:gd name="T0" fmla="*/ 61 w 155"/>
                <a:gd name="T1" fmla="*/ 164 h 172"/>
                <a:gd name="T2" fmla="*/ 12 w 155"/>
                <a:gd name="T3" fmla="*/ 129 h 172"/>
                <a:gd name="T4" fmla="*/ 1 w 155"/>
                <a:gd name="T5" fmla="*/ 70 h 172"/>
                <a:gd name="T6" fmla="*/ 125 w 155"/>
                <a:gd name="T7" fmla="*/ 48 h 172"/>
                <a:gd name="T8" fmla="*/ 61 w 155"/>
                <a:gd name="T9" fmla="*/ 16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5" h="172">
                  <a:moveTo>
                    <a:pt x="61" y="164"/>
                  </a:moveTo>
                  <a:cubicBezTo>
                    <a:pt x="39" y="162"/>
                    <a:pt x="22" y="147"/>
                    <a:pt x="12" y="129"/>
                  </a:cubicBezTo>
                  <a:cubicBezTo>
                    <a:pt x="3" y="111"/>
                    <a:pt x="0" y="90"/>
                    <a:pt x="1" y="70"/>
                  </a:cubicBezTo>
                  <a:cubicBezTo>
                    <a:pt x="2" y="3"/>
                    <a:pt x="90" y="0"/>
                    <a:pt x="125" y="48"/>
                  </a:cubicBezTo>
                  <a:cubicBezTo>
                    <a:pt x="155" y="90"/>
                    <a:pt x="122" y="172"/>
                    <a:pt x="61" y="164"/>
                  </a:cubicBezTo>
                  <a:close/>
                </a:path>
              </a:pathLst>
            </a:custGeom>
            <a:solidFill>
              <a:srgbClr val="E8C8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8" name="iṧḻîdè">
              <a:extLst>
                <a:ext uri="{FF2B5EF4-FFF2-40B4-BE49-F238E27FC236}">
                  <a16:creationId xmlns:a16="http://schemas.microsoft.com/office/drawing/2014/main" id="{8426A4B7-513B-4790-A5BB-4904461D962E}"/>
                </a:ext>
              </a:extLst>
            </p:cNvPr>
            <p:cNvSpPr/>
            <p:nvPr/>
          </p:nvSpPr>
          <p:spPr bwMode="auto">
            <a:xfrm>
              <a:off x="7190795" y="2321859"/>
              <a:ext cx="333299" cy="396565"/>
            </a:xfrm>
            <a:custGeom>
              <a:avLst/>
              <a:gdLst>
                <a:gd name="T0" fmla="*/ 125 w 199"/>
                <a:gd name="T1" fmla="*/ 163 h 237"/>
                <a:gd name="T2" fmla="*/ 131 w 199"/>
                <a:gd name="T3" fmla="*/ 188 h 237"/>
                <a:gd name="T4" fmla="*/ 135 w 199"/>
                <a:gd name="T5" fmla="*/ 237 h 237"/>
                <a:gd name="T6" fmla="*/ 181 w 199"/>
                <a:gd name="T7" fmla="*/ 215 h 237"/>
                <a:gd name="T8" fmla="*/ 194 w 199"/>
                <a:gd name="T9" fmla="*/ 172 h 237"/>
                <a:gd name="T10" fmla="*/ 198 w 199"/>
                <a:gd name="T11" fmla="*/ 127 h 237"/>
                <a:gd name="T12" fmla="*/ 39 w 199"/>
                <a:gd name="T13" fmla="*/ 37 h 237"/>
                <a:gd name="T14" fmla="*/ 20 w 199"/>
                <a:gd name="T15" fmla="*/ 110 h 237"/>
                <a:gd name="T16" fmla="*/ 112 w 199"/>
                <a:gd name="T17" fmla="*/ 143 h 237"/>
                <a:gd name="T18" fmla="*/ 125 w 199"/>
                <a:gd name="T19" fmla="*/ 163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9" h="237">
                  <a:moveTo>
                    <a:pt x="125" y="163"/>
                  </a:moveTo>
                  <a:cubicBezTo>
                    <a:pt x="126" y="171"/>
                    <a:pt x="130" y="180"/>
                    <a:pt x="131" y="188"/>
                  </a:cubicBezTo>
                  <a:cubicBezTo>
                    <a:pt x="133" y="204"/>
                    <a:pt x="130" y="223"/>
                    <a:pt x="135" y="237"/>
                  </a:cubicBezTo>
                  <a:cubicBezTo>
                    <a:pt x="151" y="235"/>
                    <a:pt x="170" y="226"/>
                    <a:pt x="181" y="215"/>
                  </a:cubicBezTo>
                  <a:cubicBezTo>
                    <a:pt x="193" y="204"/>
                    <a:pt x="191" y="188"/>
                    <a:pt x="194" y="172"/>
                  </a:cubicBezTo>
                  <a:cubicBezTo>
                    <a:pt x="196" y="157"/>
                    <a:pt x="199" y="142"/>
                    <a:pt x="198" y="127"/>
                  </a:cubicBezTo>
                  <a:cubicBezTo>
                    <a:pt x="194" y="45"/>
                    <a:pt x="112" y="0"/>
                    <a:pt x="39" y="37"/>
                  </a:cubicBezTo>
                  <a:cubicBezTo>
                    <a:pt x="12" y="51"/>
                    <a:pt x="0" y="87"/>
                    <a:pt x="20" y="110"/>
                  </a:cubicBezTo>
                  <a:cubicBezTo>
                    <a:pt x="42" y="135"/>
                    <a:pt x="86" y="124"/>
                    <a:pt x="112" y="143"/>
                  </a:cubicBezTo>
                  <a:cubicBezTo>
                    <a:pt x="117" y="147"/>
                    <a:pt x="122" y="155"/>
                    <a:pt x="125" y="163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9" name="íṥľiḓè">
              <a:extLst>
                <a:ext uri="{FF2B5EF4-FFF2-40B4-BE49-F238E27FC236}">
                  <a16:creationId xmlns:a16="http://schemas.microsoft.com/office/drawing/2014/main" id="{C9F4BDF7-1AF3-420E-8836-4A8B2C328B4C}"/>
                </a:ext>
              </a:extLst>
            </p:cNvPr>
            <p:cNvSpPr/>
            <p:nvPr/>
          </p:nvSpPr>
          <p:spPr bwMode="auto">
            <a:xfrm>
              <a:off x="7295723" y="2699907"/>
              <a:ext cx="78696" cy="67894"/>
            </a:xfrm>
            <a:custGeom>
              <a:avLst/>
              <a:gdLst>
                <a:gd name="T0" fmla="*/ 0 w 47"/>
                <a:gd name="T1" fmla="*/ 15 h 41"/>
                <a:gd name="T2" fmla="*/ 3 w 47"/>
                <a:gd name="T3" fmla="*/ 30 h 41"/>
                <a:gd name="T4" fmla="*/ 5 w 47"/>
                <a:gd name="T5" fmla="*/ 41 h 41"/>
                <a:gd name="T6" fmla="*/ 9 w 47"/>
                <a:gd name="T7" fmla="*/ 41 h 41"/>
                <a:gd name="T8" fmla="*/ 47 w 47"/>
                <a:gd name="T9" fmla="*/ 34 h 41"/>
                <a:gd name="T10" fmla="*/ 43 w 47"/>
                <a:gd name="T11" fmla="*/ 17 h 41"/>
                <a:gd name="T12" fmla="*/ 38 w 47"/>
                <a:gd name="T13" fmla="*/ 0 h 41"/>
                <a:gd name="T14" fmla="*/ 20 w 47"/>
                <a:gd name="T15" fmla="*/ 9 h 41"/>
                <a:gd name="T16" fmla="*/ 0 w 47"/>
                <a:gd name="T17" fmla="*/ 14 h 41"/>
                <a:gd name="T18" fmla="*/ 0 w 47"/>
                <a:gd name="T19" fmla="*/ 1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1">
                  <a:moveTo>
                    <a:pt x="0" y="15"/>
                  </a:moveTo>
                  <a:cubicBezTo>
                    <a:pt x="1" y="20"/>
                    <a:pt x="2" y="25"/>
                    <a:pt x="3" y="30"/>
                  </a:cubicBezTo>
                  <a:cubicBezTo>
                    <a:pt x="4" y="33"/>
                    <a:pt x="3" y="39"/>
                    <a:pt x="5" y="41"/>
                  </a:cubicBezTo>
                  <a:cubicBezTo>
                    <a:pt x="6" y="41"/>
                    <a:pt x="8" y="41"/>
                    <a:pt x="9" y="41"/>
                  </a:cubicBezTo>
                  <a:cubicBezTo>
                    <a:pt x="13" y="41"/>
                    <a:pt x="47" y="36"/>
                    <a:pt x="47" y="34"/>
                  </a:cubicBezTo>
                  <a:cubicBezTo>
                    <a:pt x="46" y="28"/>
                    <a:pt x="45" y="23"/>
                    <a:pt x="43" y="17"/>
                  </a:cubicBezTo>
                  <a:cubicBezTo>
                    <a:pt x="42" y="12"/>
                    <a:pt x="41" y="4"/>
                    <a:pt x="38" y="0"/>
                  </a:cubicBezTo>
                  <a:cubicBezTo>
                    <a:pt x="33" y="4"/>
                    <a:pt x="26" y="7"/>
                    <a:pt x="20" y="9"/>
                  </a:cubicBezTo>
                  <a:cubicBezTo>
                    <a:pt x="13" y="11"/>
                    <a:pt x="6" y="13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lose/>
                </a:path>
              </a:pathLst>
            </a:custGeom>
            <a:solidFill>
              <a:srgbClr val="E8C8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" name="ïšlîḓe">
              <a:extLst>
                <a:ext uri="{FF2B5EF4-FFF2-40B4-BE49-F238E27FC236}">
                  <a16:creationId xmlns:a16="http://schemas.microsoft.com/office/drawing/2014/main" id="{32C41B9E-3CC0-4453-A848-9469524A9206}"/>
                </a:ext>
              </a:extLst>
            </p:cNvPr>
            <p:cNvSpPr/>
            <p:nvPr/>
          </p:nvSpPr>
          <p:spPr bwMode="auto">
            <a:xfrm>
              <a:off x="6402296" y="2536343"/>
              <a:ext cx="919660" cy="1069336"/>
            </a:xfrm>
            <a:custGeom>
              <a:avLst/>
              <a:gdLst>
                <a:gd name="T0" fmla="*/ 202 w 550"/>
                <a:gd name="T1" fmla="*/ 636 h 640"/>
                <a:gd name="T2" fmla="*/ 535 w 550"/>
                <a:gd name="T3" fmla="*/ 513 h 640"/>
                <a:gd name="T4" fmla="*/ 546 w 550"/>
                <a:gd name="T5" fmla="*/ 487 h 640"/>
                <a:gd name="T6" fmla="*/ 373 w 550"/>
                <a:gd name="T7" fmla="*/ 17 h 640"/>
                <a:gd name="T8" fmla="*/ 348 w 550"/>
                <a:gd name="T9" fmla="*/ 4 h 640"/>
                <a:gd name="T10" fmla="*/ 15 w 550"/>
                <a:gd name="T11" fmla="*/ 127 h 640"/>
                <a:gd name="T12" fmla="*/ 4 w 550"/>
                <a:gd name="T13" fmla="*/ 153 h 640"/>
                <a:gd name="T14" fmla="*/ 177 w 550"/>
                <a:gd name="T15" fmla="*/ 623 h 640"/>
                <a:gd name="T16" fmla="*/ 202 w 550"/>
                <a:gd name="T17" fmla="*/ 636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0" h="640">
                  <a:moveTo>
                    <a:pt x="202" y="636"/>
                  </a:moveTo>
                  <a:cubicBezTo>
                    <a:pt x="535" y="513"/>
                    <a:pt x="535" y="513"/>
                    <a:pt x="535" y="513"/>
                  </a:cubicBezTo>
                  <a:cubicBezTo>
                    <a:pt x="545" y="510"/>
                    <a:pt x="550" y="498"/>
                    <a:pt x="546" y="487"/>
                  </a:cubicBezTo>
                  <a:cubicBezTo>
                    <a:pt x="373" y="17"/>
                    <a:pt x="373" y="17"/>
                    <a:pt x="373" y="17"/>
                  </a:cubicBezTo>
                  <a:cubicBezTo>
                    <a:pt x="369" y="6"/>
                    <a:pt x="358" y="0"/>
                    <a:pt x="348" y="4"/>
                  </a:cubicBezTo>
                  <a:cubicBezTo>
                    <a:pt x="15" y="127"/>
                    <a:pt x="15" y="127"/>
                    <a:pt x="15" y="127"/>
                  </a:cubicBezTo>
                  <a:cubicBezTo>
                    <a:pt x="5" y="130"/>
                    <a:pt x="0" y="142"/>
                    <a:pt x="4" y="153"/>
                  </a:cubicBezTo>
                  <a:cubicBezTo>
                    <a:pt x="177" y="623"/>
                    <a:pt x="177" y="623"/>
                    <a:pt x="177" y="623"/>
                  </a:cubicBezTo>
                  <a:cubicBezTo>
                    <a:pt x="181" y="634"/>
                    <a:pt x="192" y="640"/>
                    <a:pt x="202" y="636"/>
                  </a:cubicBezTo>
                  <a:close/>
                </a:path>
              </a:pathLst>
            </a:custGeom>
            <a:solidFill>
              <a:srgbClr val="D670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" name="îṩḻîḍê">
              <a:extLst>
                <a:ext uri="{FF2B5EF4-FFF2-40B4-BE49-F238E27FC236}">
                  <a16:creationId xmlns:a16="http://schemas.microsoft.com/office/drawing/2014/main" id="{C2FC1C1F-C54E-4237-A7B0-A59E0B70F392}"/>
                </a:ext>
              </a:extLst>
            </p:cNvPr>
            <p:cNvSpPr/>
            <p:nvPr/>
          </p:nvSpPr>
          <p:spPr bwMode="auto">
            <a:xfrm>
              <a:off x="6857496" y="2865014"/>
              <a:ext cx="242260" cy="248432"/>
            </a:xfrm>
            <a:custGeom>
              <a:avLst/>
              <a:gdLst>
                <a:gd name="T0" fmla="*/ 50 w 145"/>
                <a:gd name="T1" fmla="*/ 146 h 148"/>
                <a:gd name="T2" fmla="*/ 137 w 145"/>
                <a:gd name="T3" fmla="*/ 114 h 148"/>
                <a:gd name="T4" fmla="*/ 143 w 145"/>
                <a:gd name="T5" fmla="*/ 100 h 148"/>
                <a:gd name="T6" fmla="*/ 109 w 145"/>
                <a:gd name="T7" fmla="*/ 9 h 148"/>
                <a:gd name="T8" fmla="*/ 96 w 145"/>
                <a:gd name="T9" fmla="*/ 2 h 148"/>
                <a:gd name="T10" fmla="*/ 8 w 145"/>
                <a:gd name="T11" fmla="*/ 34 h 148"/>
                <a:gd name="T12" fmla="*/ 2 w 145"/>
                <a:gd name="T13" fmla="*/ 48 h 148"/>
                <a:gd name="T14" fmla="*/ 36 w 145"/>
                <a:gd name="T15" fmla="*/ 139 h 148"/>
                <a:gd name="T16" fmla="*/ 50 w 145"/>
                <a:gd name="T17" fmla="*/ 14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" h="148">
                  <a:moveTo>
                    <a:pt x="50" y="146"/>
                  </a:moveTo>
                  <a:cubicBezTo>
                    <a:pt x="137" y="114"/>
                    <a:pt x="137" y="114"/>
                    <a:pt x="137" y="114"/>
                  </a:cubicBezTo>
                  <a:cubicBezTo>
                    <a:pt x="142" y="112"/>
                    <a:pt x="145" y="106"/>
                    <a:pt x="143" y="100"/>
                  </a:cubicBezTo>
                  <a:cubicBezTo>
                    <a:pt x="109" y="9"/>
                    <a:pt x="109" y="9"/>
                    <a:pt x="109" y="9"/>
                  </a:cubicBezTo>
                  <a:cubicBezTo>
                    <a:pt x="107" y="3"/>
                    <a:pt x="101" y="0"/>
                    <a:pt x="96" y="2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3" y="36"/>
                    <a:pt x="0" y="42"/>
                    <a:pt x="2" y="48"/>
                  </a:cubicBezTo>
                  <a:cubicBezTo>
                    <a:pt x="36" y="139"/>
                    <a:pt x="36" y="139"/>
                    <a:pt x="36" y="139"/>
                  </a:cubicBezTo>
                  <a:cubicBezTo>
                    <a:pt x="38" y="145"/>
                    <a:pt x="44" y="148"/>
                    <a:pt x="50" y="146"/>
                  </a:cubicBezTo>
                  <a:close/>
                </a:path>
              </a:pathLst>
            </a:custGeom>
            <a:solidFill>
              <a:srgbClr val="EED5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" name="îsľîḍe">
              <a:extLst>
                <a:ext uri="{FF2B5EF4-FFF2-40B4-BE49-F238E27FC236}">
                  <a16:creationId xmlns:a16="http://schemas.microsoft.com/office/drawing/2014/main" id="{B2345D18-AC20-4ABB-A09B-D55A58B882B7}"/>
                </a:ext>
              </a:extLst>
            </p:cNvPr>
            <p:cNvSpPr/>
            <p:nvPr/>
          </p:nvSpPr>
          <p:spPr bwMode="auto">
            <a:xfrm>
              <a:off x="6587462" y="2963769"/>
              <a:ext cx="242260" cy="248432"/>
            </a:xfrm>
            <a:custGeom>
              <a:avLst/>
              <a:gdLst>
                <a:gd name="T0" fmla="*/ 50 w 145"/>
                <a:gd name="T1" fmla="*/ 146 h 148"/>
                <a:gd name="T2" fmla="*/ 137 w 145"/>
                <a:gd name="T3" fmla="*/ 114 h 148"/>
                <a:gd name="T4" fmla="*/ 143 w 145"/>
                <a:gd name="T5" fmla="*/ 100 h 148"/>
                <a:gd name="T6" fmla="*/ 110 w 145"/>
                <a:gd name="T7" fmla="*/ 9 h 148"/>
                <a:gd name="T8" fmla="*/ 96 w 145"/>
                <a:gd name="T9" fmla="*/ 2 h 148"/>
                <a:gd name="T10" fmla="*/ 9 w 145"/>
                <a:gd name="T11" fmla="*/ 34 h 148"/>
                <a:gd name="T12" fmla="*/ 3 w 145"/>
                <a:gd name="T13" fmla="*/ 48 h 148"/>
                <a:gd name="T14" fmla="*/ 36 w 145"/>
                <a:gd name="T15" fmla="*/ 139 h 148"/>
                <a:gd name="T16" fmla="*/ 50 w 145"/>
                <a:gd name="T17" fmla="*/ 14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" h="148">
                  <a:moveTo>
                    <a:pt x="50" y="146"/>
                  </a:moveTo>
                  <a:cubicBezTo>
                    <a:pt x="137" y="114"/>
                    <a:pt x="137" y="114"/>
                    <a:pt x="137" y="114"/>
                  </a:cubicBezTo>
                  <a:cubicBezTo>
                    <a:pt x="143" y="112"/>
                    <a:pt x="145" y="106"/>
                    <a:pt x="143" y="100"/>
                  </a:cubicBezTo>
                  <a:cubicBezTo>
                    <a:pt x="110" y="9"/>
                    <a:pt x="110" y="9"/>
                    <a:pt x="110" y="9"/>
                  </a:cubicBezTo>
                  <a:cubicBezTo>
                    <a:pt x="107" y="3"/>
                    <a:pt x="101" y="0"/>
                    <a:pt x="96" y="2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3" y="36"/>
                    <a:pt x="0" y="42"/>
                    <a:pt x="3" y="48"/>
                  </a:cubicBezTo>
                  <a:cubicBezTo>
                    <a:pt x="36" y="139"/>
                    <a:pt x="36" y="139"/>
                    <a:pt x="36" y="139"/>
                  </a:cubicBezTo>
                  <a:cubicBezTo>
                    <a:pt x="38" y="145"/>
                    <a:pt x="44" y="148"/>
                    <a:pt x="50" y="146"/>
                  </a:cubicBezTo>
                  <a:close/>
                </a:path>
              </a:pathLst>
            </a:custGeom>
            <a:solidFill>
              <a:srgbClr val="EED5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3" name="iṧḻîďè">
              <a:extLst>
                <a:ext uri="{FF2B5EF4-FFF2-40B4-BE49-F238E27FC236}">
                  <a16:creationId xmlns:a16="http://schemas.microsoft.com/office/drawing/2014/main" id="{13B0CFD8-4712-4E76-99FF-40DE4D638F27}"/>
                </a:ext>
              </a:extLst>
            </p:cNvPr>
            <p:cNvSpPr/>
            <p:nvPr/>
          </p:nvSpPr>
          <p:spPr bwMode="auto">
            <a:xfrm>
              <a:off x="6948537" y="3114989"/>
              <a:ext cx="243802" cy="246888"/>
            </a:xfrm>
            <a:custGeom>
              <a:avLst/>
              <a:gdLst>
                <a:gd name="T0" fmla="*/ 49 w 145"/>
                <a:gd name="T1" fmla="*/ 146 h 148"/>
                <a:gd name="T2" fmla="*/ 137 w 145"/>
                <a:gd name="T3" fmla="*/ 114 h 148"/>
                <a:gd name="T4" fmla="*/ 143 w 145"/>
                <a:gd name="T5" fmla="*/ 100 h 148"/>
                <a:gd name="T6" fmla="*/ 109 w 145"/>
                <a:gd name="T7" fmla="*/ 9 h 148"/>
                <a:gd name="T8" fmla="*/ 95 w 145"/>
                <a:gd name="T9" fmla="*/ 2 h 148"/>
                <a:gd name="T10" fmla="*/ 8 w 145"/>
                <a:gd name="T11" fmla="*/ 34 h 148"/>
                <a:gd name="T12" fmla="*/ 2 w 145"/>
                <a:gd name="T13" fmla="*/ 48 h 148"/>
                <a:gd name="T14" fmla="*/ 36 w 145"/>
                <a:gd name="T15" fmla="*/ 139 h 148"/>
                <a:gd name="T16" fmla="*/ 49 w 145"/>
                <a:gd name="T17" fmla="*/ 14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" h="148">
                  <a:moveTo>
                    <a:pt x="49" y="146"/>
                  </a:moveTo>
                  <a:cubicBezTo>
                    <a:pt x="137" y="114"/>
                    <a:pt x="137" y="114"/>
                    <a:pt x="137" y="114"/>
                  </a:cubicBezTo>
                  <a:cubicBezTo>
                    <a:pt x="142" y="112"/>
                    <a:pt x="145" y="106"/>
                    <a:pt x="143" y="100"/>
                  </a:cubicBezTo>
                  <a:cubicBezTo>
                    <a:pt x="109" y="9"/>
                    <a:pt x="109" y="9"/>
                    <a:pt x="109" y="9"/>
                  </a:cubicBezTo>
                  <a:cubicBezTo>
                    <a:pt x="107" y="3"/>
                    <a:pt x="101" y="0"/>
                    <a:pt x="95" y="2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3" y="36"/>
                    <a:pt x="0" y="42"/>
                    <a:pt x="2" y="48"/>
                  </a:cubicBezTo>
                  <a:cubicBezTo>
                    <a:pt x="36" y="139"/>
                    <a:pt x="36" y="139"/>
                    <a:pt x="36" y="139"/>
                  </a:cubicBezTo>
                  <a:cubicBezTo>
                    <a:pt x="38" y="145"/>
                    <a:pt x="44" y="148"/>
                    <a:pt x="49" y="146"/>
                  </a:cubicBezTo>
                  <a:close/>
                </a:path>
              </a:pathLst>
            </a:custGeom>
            <a:solidFill>
              <a:srgbClr val="EED5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4" name="îṩľíḍè">
              <a:extLst>
                <a:ext uri="{FF2B5EF4-FFF2-40B4-BE49-F238E27FC236}">
                  <a16:creationId xmlns:a16="http://schemas.microsoft.com/office/drawing/2014/main" id="{B9980D5C-EB4F-4FB8-A371-F0F546EB68D9}"/>
                </a:ext>
              </a:extLst>
            </p:cNvPr>
            <p:cNvSpPr/>
            <p:nvPr/>
          </p:nvSpPr>
          <p:spPr bwMode="auto">
            <a:xfrm>
              <a:off x="6680045" y="3213744"/>
              <a:ext cx="242260" cy="246888"/>
            </a:xfrm>
            <a:custGeom>
              <a:avLst/>
              <a:gdLst>
                <a:gd name="T0" fmla="*/ 50 w 145"/>
                <a:gd name="T1" fmla="*/ 146 h 148"/>
                <a:gd name="T2" fmla="*/ 137 w 145"/>
                <a:gd name="T3" fmla="*/ 114 h 148"/>
                <a:gd name="T4" fmla="*/ 143 w 145"/>
                <a:gd name="T5" fmla="*/ 100 h 148"/>
                <a:gd name="T6" fmla="*/ 109 w 145"/>
                <a:gd name="T7" fmla="*/ 9 h 148"/>
                <a:gd name="T8" fmla="*/ 96 w 145"/>
                <a:gd name="T9" fmla="*/ 2 h 148"/>
                <a:gd name="T10" fmla="*/ 8 w 145"/>
                <a:gd name="T11" fmla="*/ 34 h 148"/>
                <a:gd name="T12" fmla="*/ 2 w 145"/>
                <a:gd name="T13" fmla="*/ 48 h 148"/>
                <a:gd name="T14" fmla="*/ 36 w 145"/>
                <a:gd name="T15" fmla="*/ 139 h 148"/>
                <a:gd name="T16" fmla="*/ 50 w 145"/>
                <a:gd name="T17" fmla="*/ 14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" h="148">
                  <a:moveTo>
                    <a:pt x="50" y="146"/>
                  </a:moveTo>
                  <a:cubicBezTo>
                    <a:pt x="137" y="114"/>
                    <a:pt x="137" y="114"/>
                    <a:pt x="137" y="114"/>
                  </a:cubicBezTo>
                  <a:cubicBezTo>
                    <a:pt x="142" y="112"/>
                    <a:pt x="145" y="106"/>
                    <a:pt x="143" y="100"/>
                  </a:cubicBezTo>
                  <a:cubicBezTo>
                    <a:pt x="109" y="9"/>
                    <a:pt x="109" y="9"/>
                    <a:pt x="109" y="9"/>
                  </a:cubicBezTo>
                  <a:cubicBezTo>
                    <a:pt x="107" y="3"/>
                    <a:pt x="101" y="0"/>
                    <a:pt x="96" y="2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3" y="36"/>
                    <a:pt x="0" y="42"/>
                    <a:pt x="2" y="48"/>
                  </a:cubicBezTo>
                  <a:cubicBezTo>
                    <a:pt x="36" y="139"/>
                    <a:pt x="36" y="139"/>
                    <a:pt x="36" y="139"/>
                  </a:cubicBezTo>
                  <a:cubicBezTo>
                    <a:pt x="38" y="145"/>
                    <a:pt x="44" y="148"/>
                    <a:pt x="50" y="146"/>
                  </a:cubicBezTo>
                  <a:close/>
                </a:path>
              </a:pathLst>
            </a:custGeom>
            <a:solidFill>
              <a:srgbClr val="5D66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5" name="íšlîḋè">
              <a:extLst>
                <a:ext uri="{FF2B5EF4-FFF2-40B4-BE49-F238E27FC236}">
                  <a16:creationId xmlns:a16="http://schemas.microsoft.com/office/drawing/2014/main" id="{9A9F8A60-0B6C-4A4A-8AFA-FBB7E956AC38}"/>
                </a:ext>
              </a:extLst>
            </p:cNvPr>
            <p:cNvSpPr/>
            <p:nvPr/>
          </p:nvSpPr>
          <p:spPr bwMode="auto">
            <a:xfrm>
              <a:off x="6919218" y="2925193"/>
              <a:ext cx="120358" cy="132703"/>
            </a:xfrm>
            <a:custGeom>
              <a:avLst/>
              <a:gdLst>
                <a:gd name="T0" fmla="*/ 19 w 72"/>
                <a:gd name="T1" fmla="*/ 8 h 79"/>
                <a:gd name="T2" fmla="*/ 19 w 72"/>
                <a:gd name="T3" fmla="*/ 4 h 79"/>
                <a:gd name="T4" fmla="*/ 22 w 72"/>
                <a:gd name="T5" fmla="*/ 1 h 79"/>
                <a:gd name="T6" fmla="*/ 26 w 72"/>
                <a:gd name="T7" fmla="*/ 1 h 79"/>
                <a:gd name="T8" fmla="*/ 29 w 72"/>
                <a:gd name="T9" fmla="*/ 5 h 79"/>
                <a:gd name="T10" fmla="*/ 39 w 72"/>
                <a:gd name="T11" fmla="*/ 32 h 79"/>
                <a:gd name="T12" fmla="*/ 64 w 72"/>
                <a:gd name="T13" fmla="*/ 23 h 79"/>
                <a:gd name="T14" fmla="*/ 68 w 72"/>
                <a:gd name="T15" fmla="*/ 23 h 79"/>
                <a:gd name="T16" fmla="*/ 71 w 72"/>
                <a:gd name="T17" fmla="*/ 26 h 79"/>
                <a:gd name="T18" fmla="*/ 71 w 72"/>
                <a:gd name="T19" fmla="*/ 31 h 79"/>
                <a:gd name="T20" fmla="*/ 68 w 72"/>
                <a:gd name="T21" fmla="*/ 34 h 79"/>
                <a:gd name="T22" fmla="*/ 43 w 72"/>
                <a:gd name="T23" fmla="*/ 43 h 79"/>
                <a:gd name="T24" fmla="*/ 53 w 72"/>
                <a:gd name="T25" fmla="*/ 70 h 79"/>
                <a:gd name="T26" fmla="*/ 53 w 72"/>
                <a:gd name="T27" fmla="*/ 75 h 79"/>
                <a:gd name="T28" fmla="*/ 50 w 72"/>
                <a:gd name="T29" fmla="*/ 78 h 79"/>
                <a:gd name="T30" fmla="*/ 46 w 72"/>
                <a:gd name="T31" fmla="*/ 78 h 79"/>
                <a:gd name="T32" fmla="*/ 43 w 72"/>
                <a:gd name="T33" fmla="*/ 74 h 79"/>
                <a:gd name="T34" fmla="*/ 33 w 72"/>
                <a:gd name="T35" fmla="*/ 47 h 79"/>
                <a:gd name="T36" fmla="*/ 8 w 72"/>
                <a:gd name="T37" fmla="*/ 56 h 79"/>
                <a:gd name="T38" fmla="*/ 4 w 72"/>
                <a:gd name="T39" fmla="*/ 56 h 79"/>
                <a:gd name="T40" fmla="*/ 1 w 72"/>
                <a:gd name="T41" fmla="*/ 52 h 79"/>
                <a:gd name="T42" fmla="*/ 1 w 72"/>
                <a:gd name="T43" fmla="*/ 48 h 79"/>
                <a:gd name="T44" fmla="*/ 4 w 72"/>
                <a:gd name="T45" fmla="*/ 45 h 79"/>
                <a:gd name="T46" fmla="*/ 29 w 72"/>
                <a:gd name="T47" fmla="*/ 36 h 79"/>
                <a:gd name="T48" fmla="*/ 19 w 72"/>
                <a:gd name="T49" fmla="*/ 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2" h="79">
                  <a:moveTo>
                    <a:pt x="19" y="8"/>
                  </a:moveTo>
                  <a:cubicBezTo>
                    <a:pt x="18" y="7"/>
                    <a:pt x="18" y="5"/>
                    <a:pt x="19" y="4"/>
                  </a:cubicBezTo>
                  <a:cubicBezTo>
                    <a:pt x="19" y="2"/>
                    <a:pt x="20" y="1"/>
                    <a:pt x="22" y="1"/>
                  </a:cubicBezTo>
                  <a:cubicBezTo>
                    <a:pt x="23" y="0"/>
                    <a:pt x="25" y="0"/>
                    <a:pt x="26" y="1"/>
                  </a:cubicBezTo>
                  <a:cubicBezTo>
                    <a:pt x="27" y="2"/>
                    <a:pt x="28" y="3"/>
                    <a:pt x="29" y="5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2"/>
                    <a:pt x="67" y="22"/>
                    <a:pt x="68" y="23"/>
                  </a:cubicBezTo>
                  <a:cubicBezTo>
                    <a:pt x="70" y="24"/>
                    <a:pt x="71" y="25"/>
                    <a:pt x="71" y="26"/>
                  </a:cubicBezTo>
                  <a:cubicBezTo>
                    <a:pt x="72" y="28"/>
                    <a:pt x="72" y="29"/>
                    <a:pt x="71" y="31"/>
                  </a:cubicBezTo>
                  <a:cubicBezTo>
                    <a:pt x="70" y="32"/>
                    <a:pt x="69" y="33"/>
                    <a:pt x="68" y="34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4" y="72"/>
                    <a:pt x="54" y="73"/>
                    <a:pt x="53" y="75"/>
                  </a:cubicBezTo>
                  <a:cubicBezTo>
                    <a:pt x="53" y="76"/>
                    <a:pt x="52" y="78"/>
                    <a:pt x="50" y="78"/>
                  </a:cubicBezTo>
                  <a:cubicBezTo>
                    <a:pt x="49" y="79"/>
                    <a:pt x="47" y="79"/>
                    <a:pt x="46" y="78"/>
                  </a:cubicBezTo>
                  <a:cubicBezTo>
                    <a:pt x="45" y="77"/>
                    <a:pt x="44" y="76"/>
                    <a:pt x="43" y="74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7" y="56"/>
                    <a:pt x="5" y="56"/>
                    <a:pt x="4" y="56"/>
                  </a:cubicBezTo>
                  <a:cubicBezTo>
                    <a:pt x="2" y="55"/>
                    <a:pt x="1" y="54"/>
                    <a:pt x="1" y="52"/>
                  </a:cubicBezTo>
                  <a:cubicBezTo>
                    <a:pt x="0" y="51"/>
                    <a:pt x="0" y="49"/>
                    <a:pt x="1" y="48"/>
                  </a:cubicBezTo>
                  <a:cubicBezTo>
                    <a:pt x="2" y="46"/>
                    <a:pt x="3" y="45"/>
                    <a:pt x="4" y="45"/>
                  </a:cubicBezTo>
                  <a:cubicBezTo>
                    <a:pt x="29" y="36"/>
                    <a:pt x="29" y="36"/>
                    <a:pt x="29" y="36"/>
                  </a:cubicBezTo>
                  <a:lnTo>
                    <a:pt x="19" y="8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6" name="ïṣ1îḓe">
              <a:extLst>
                <a:ext uri="{FF2B5EF4-FFF2-40B4-BE49-F238E27FC236}">
                  <a16:creationId xmlns:a16="http://schemas.microsoft.com/office/drawing/2014/main" id="{086601CB-B0E7-41B9-A421-11E43785F686}"/>
                </a:ext>
              </a:extLst>
            </p:cNvPr>
            <p:cNvSpPr/>
            <p:nvPr/>
          </p:nvSpPr>
          <p:spPr bwMode="auto">
            <a:xfrm>
              <a:off x="6652270" y="3060981"/>
              <a:ext cx="112643" cy="58636"/>
            </a:xfrm>
            <a:custGeom>
              <a:avLst/>
              <a:gdLst>
                <a:gd name="T0" fmla="*/ 8 w 67"/>
                <a:gd name="T1" fmla="*/ 35 h 35"/>
                <a:gd name="T2" fmla="*/ 5 w 67"/>
                <a:gd name="T3" fmla="*/ 35 h 35"/>
                <a:gd name="T4" fmla="*/ 4 w 67"/>
                <a:gd name="T5" fmla="*/ 33 h 35"/>
                <a:gd name="T6" fmla="*/ 1 w 67"/>
                <a:gd name="T7" fmla="*/ 25 h 35"/>
                <a:gd name="T8" fmla="*/ 1 w 67"/>
                <a:gd name="T9" fmla="*/ 23 h 35"/>
                <a:gd name="T10" fmla="*/ 3 w 67"/>
                <a:gd name="T11" fmla="*/ 21 h 35"/>
                <a:gd name="T12" fmla="*/ 59 w 67"/>
                <a:gd name="T13" fmla="*/ 0 h 35"/>
                <a:gd name="T14" fmla="*/ 62 w 67"/>
                <a:gd name="T15" fmla="*/ 0 h 35"/>
                <a:gd name="T16" fmla="*/ 63 w 67"/>
                <a:gd name="T17" fmla="*/ 2 h 35"/>
                <a:gd name="T18" fmla="*/ 66 w 67"/>
                <a:gd name="T19" fmla="*/ 10 h 35"/>
                <a:gd name="T20" fmla="*/ 67 w 67"/>
                <a:gd name="T21" fmla="*/ 13 h 35"/>
                <a:gd name="T22" fmla="*/ 65 w 67"/>
                <a:gd name="T23" fmla="*/ 14 h 35"/>
                <a:gd name="T24" fmla="*/ 8 w 67"/>
                <a:gd name="T2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35">
                  <a:moveTo>
                    <a:pt x="8" y="35"/>
                  </a:moveTo>
                  <a:cubicBezTo>
                    <a:pt x="7" y="35"/>
                    <a:pt x="6" y="35"/>
                    <a:pt x="5" y="35"/>
                  </a:cubicBezTo>
                  <a:cubicBezTo>
                    <a:pt x="4" y="34"/>
                    <a:pt x="4" y="34"/>
                    <a:pt x="4" y="33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0" y="24"/>
                    <a:pt x="0" y="23"/>
                    <a:pt x="1" y="23"/>
                  </a:cubicBezTo>
                  <a:cubicBezTo>
                    <a:pt x="1" y="22"/>
                    <a:pt x="2" y="21"/>
                    <a:pt x="3" y="21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0" y="0"/>
                    <a:pt x="61" y="0"/>
                    <a:pt x="62" y="0"/>
                  </a:cubicBezTo>
                  <a:cubicBezTo>
                    <a:pt x="63" y="0"/>
                    <a:pt x="63" y="1"/>
                    <a:pt x="63" y="2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7" y="11"/>
                    <a:pt x="67" y="12"/>
                    <a:pt x="67" y="13"/>
                  </a:cubicBezTo>
                  <a:cubicBezTo>
                    <a:pt x="66" y="13"/>
                    <a:pt x="66" y="14"/>
                    <a:pt x="65" y="14"/>
                  </a:cubicBezTo>
                  <a:lnTo>
                    <a:pt x="8" y="35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7" name="ïṡlïďê">
              <a:extLst>
                <a:ext uri="{FF2B5EF4-FFF2-40B4-BE49-F238E27FC236}">
                  <a16:creationId xmlns:a16="http://schemas.microsoft.com/office/drawing/2014/main" id="{29F8959A-0649-44D3-BA88-9CE6653DCF95}"/>
                </a:ext>
              </a:extLst>
            </p:cNvPr>
            <p:cNvSpPr/>
            <p:nvPr/>
          </p:nvSpPr>
          <p:spPr bwMode="auto">
            <a:xfrm>
              <a:off x="6732509" y="3275466"/>
              <a:ext cx="112643" cy="58636"/>
            </a:xfrm>
            <a:custGeom>
              <a:avLst/>
              <a:gdLst>
                <a:gd name="T0" fmla="*/ 8 w 67"/>
                <a:gd name="T1" fmla="*/ 35 h 35"/>
                <a:gd name="T2" fmla="*/ 5 w 67"/>
                <a:gd name="T3" fmla="*/ 35 h 35"/>
                <a:gd name="T4" fmla="*/ 4 w 67"/>
                <a:gd name="T5" fmla="*/ 33 h 35"/>
                <a:gd name="T6" fmla="*/ 1 w 67"/>
                <a:gd name="T7" fmla="*/ 25 h 35"/>
                <a:gd name="T8" fmla="*/ 1 w 67"/>
                <a:gd name="T9" fmla="*/ 22 h 35"/>
                <a:gd name="T10" fmla="*/ 3 w 67"/>
                <a:gd name="T11" fmla="*/ 21 h 35"/>
                <a:gd name="T12" fmla="*/ 59 w 67"/>
                <a:gd name="T13" fmla="*/ 0 h 35"/>
                <a:gd name="T14" fmla="*/ 62 w 67"/>
                <a:gd name="T15" fmla="*/ 0 h 35"/>
                <a:gd name="T16" fmla="*/ 64 w 67"/>
                <a:gd name="T17" fmla="*/ 2 h 35"/>
                <a:gd name="T18" fmla="*/ 66 w 67"/>
                <a:gd name="T19" fmla="*/ 10 h 35"/>
                <a:gd name="T20" fmla="*/ 67 w 67"/>
                <a:gd name="T21" fmla="*/ 12 h 35"/>
                <a:gd name="T22" fmla="*/ 65 w 67"/>
                <a:gd name="T23" fmla="*/ 14 h 35"/>
                <a:gd name="T24" fmla="*/ 8 w 67"/>
                <a:gd name="T2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35">
                  <a:moveTo>
                    <a:pt x="8" y="35"/>
                  </a:moveTo>
                  <a:cubicBezTo>
                    <a:pt x="7" y="35"/>
                    <a:pt x="6" y="35"/>
                    <a:pt x="5" y="35"/>
                  </a:cubicBezTo>
                  <a:cubicBezTo>
                    <a:pt x="4" y="34"/>
                    <a:pt x="4" y="34"/>
                    <a:pt x="4" y="33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0" y="24"/>
                    <a:pt x="0" y="23"/>
                    <a:pt x="1" y="22"/>
                  </a:cubicBezTo>
                  <a:cubicBezTo>
                    <a:pt x="1" y="22"/>
                    <a:pt x="2" y="21"/>
                    <a:pt x="3" y="21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0" y="0"/>
                    <a:pt x="61" y="0"/>
                    <a:pt x="62" y="0"/>
                  </a:cubicBezTo>
                  <a:cubicBezTo>
                    <a:pt x="63" y="0"/>
                    <a:pt x="63" y="1"/>
                    <a:pt x="64" y="2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7" y="11"/>
                    <a:pt x="67" y="12"/>
                    <a:pt x="67" y="12"/>
                  </a:cubicBezTo>
                  <a:cubicBezTo>
                    <a:pt x="66" y="13"/>
                    <a:pt x="66" y="14"/>
                    <a:pt x="65" y="14"/>
                  </a:cubicBezTo>
                  <a:lnTo>
                    <a:pt x="8" y="35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8" name="ïṥ1íďe">
              <a:extLst>
                <a:ext uri="{FF2B5EF4-FFF2-40B4-BE49-F238E27FC236}">
                  <a16:creationId xmlns:a16="http://schemas.microsoft.com/office/drawing/2014/main" id="{27D316A2-EE22-4D42-90B3-E58111A089AE}"/>
                </a:ext>
              </a:extLst>
            </p:cNvPr>
            <p:cNvSpPr/>
            <p:nvPr/>
          </p:nvSpPr>
          <p:spPr bwMode="auto">
            <a:xfrm>
              <a:off x="6751026" y="3321758"/>
              <a:ext cx="111100" cy="60180"/>
            </a:xfrm>
            <a:custGeom>
              <a:avLst/>
              <a:gdLst>
                <a:gd name="T0" fmla="*/ 8 w 66"/>
                <a:gd name="T1" fmla="*/ 35 h 36"/>
                <a:gd name="T2" fmla="*/ 5 w 66"/>
                <a:gd name="T3" fmla="*/ 35 h 36"/>
                <a:gd name="T4" fmla="*/ 3 w 66"/>
                <a:gd name="T5" fmla="*/ 33 h 36"/>
                <a:gd name="T6" fmla="*/ 0 w 66"/>
                <a:gd name="T7" fmla="*/ 25 h 36"/>
                <a:gd name="T8" fmla="*/ 0 w 66"/>
                <a:gd name="T9" fmla="*/ 23 h 36"/>
                <a:gd name="T10" fmla="*/ 2 w 66"/>
                <a:gd name="T11" fmla="*/ 21 h 36"/>
                <a:gd name="T12" fmla="*/ 59 w 66"/>
                <a:gd name="T13" fmla="*/ 0 h 36"/>
                <a:gd name="T14" fmla="*/ 61 w 66"/>
                <a:gd name="T15" fmla="*/ 0 h 36"/>
                <a:gd name="T16" fmla="*/ 63 w 66"/>
                <a:gd name="T17" fmla="*/ 2 h 36"/>
                <a:gd name="T18" fmla="*/ 66 w 66"/>
                <a:gd name="T19" fmla="*/ 10 h 36"/>
                <a:gd name="T20" fmla="*/ 66 w 66"/>
                <a:gd name="T21" fmla="*/ 13 h 36"/>
                <a:gd name="T22" fmla="*/ 64 w 66"/>
                <a:gd name="T23" fmla="*/ 15 h 36"/>
                <a:gd name="T24" fmla="*/ 8 w 66"/>
                <a:gd name="T25" fmla="*/ 3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36">
                  <a:moveTo>
                    <a:pt x="8" y="35"/>
                  </a:moveTo>
                  <a:cubicBezTo>
                    <a:pt x="7" y="36"/>
                    <a:pt x="6" y="36"/>
                    <a:pt x="5" y="35"/>
                  </a:cubicBezTo>
                  <a:cubicBezTo>
                    <a:pt x="4" y="35"/>
                    <a:pt x="3" y="34"/>
                    <a:pt x="3" y="3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4"/>
                    <a:pt x="0" y="24"/>
                    <a:pt x="0" y="23"/>
                  </a:cubicBezTo>
                  <a:cubicBezTo>
                    <a:pt x="1" y="22"/>
                    <a:pt x="1" y="22"/>
                    <a:pt x="2" y="21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0" y="0"/>
                    <a:pt x="61" y="0"/>
                    <a:pt x="61" y="0"/>
                  </a:cubicBezTo>
                  <a:cubicBezTo>
                    <a:pt x="62" y="1"/>
                    <a:pt x="63" y="1"/>
                    <a:pt x="63" y="2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6" y="11"/>
                    <a:pt x="66" y="12"/>
                    <a:pt x="66" y="13"/>
                  </a:cubicBezTo>
                  <a:cubicBezTo>
                    <a:pt x="66" y="14"/>
                    <a:pt x="65" y="14"/>
                    <a:pt x="64" y="15"/>
                  </a:cubicBezTo>
                  <a:lnTo>
                    <a:pt x="8" y="35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9" name="íśḻïḓè">
              <a:extLst>
                <a:ext uri="{FF2B5EF4-FFF2-40B4-BE49-F238E27FC236}">
                  <a16:creationId xmlns:a16="http://schemas.microsoft.com/office/drawing/2014/main" id="{E8A0811E-B8E8-4CB8-8486-06C379AC9D24}"/>
                </a:ext>
              </a:extLst>
            </p:cNvPr>
            <p:cNvSpPr/>
            <p:nvPr/>
          </p:nvSpPr>
          <p:spPr bwMode="auto">
            <a:xfrm>
              <a:off x="7013345" y="3202942"/>
              <a:ext cx="111100" cy="60180"/>
            </a:xfrm>
            <a:custGeom>
              <a:avLst/>
              <a:gdLst>
                <a:gd name="T0" fmla="*/ 8 w 67"/>
                <a:gd name="T1" fmla="*/ 36 h 36"/>
                <a:gd name="T2" fmla="*/ 5 w 67"/>
                <a:gd name="T3" fmla="*/ 36 h 36"/>
                <a:gd name="T4" fmla="*/ 3 w 67"/>
                <a:gd name="T5" fmla="*/ 34 h 36"/>
                <a:gd name="T6" fmla="*/ 0 w 67"/>
                <a:gd name="T7" fmla="*/ 26 h 36"/>
                <a:gd name="T8" fmla="*/ 0 w 67"/>
                <a:gd name="T9" fmla="*/ 23 h 36"/>
                <a:gd name="T10" fmla="*/ 3 w 67"/>
                <a:gd name="T11" fmla="*/ 22 h 36"/>
                <a:gd name="T12" fmla="*/ 59 w 67"/>
                <a:gd name="T13" fmla="*/ 1 h 36"/>
                <a:gd name="T14" fmla="*/ 62 w 67"/>
                <a:gd name="T15" fmla="*/ 1 h 36"/>
                <a:gd name="T16" fmla="*/ 63 w 67"/>
                <a:gd name="T17" fmla="*/ 3 h 36"/>
                <a:gd name="T18" fmla="*/ 66 w 67"/>
                <a:gd name="T19" fmla="*/ 10 h 36"/>
                <a:gd name="T20" fmla="*/ 66 w 67"/>
                <a:gd name="T21" fmla="*/ 13 h 36"/>
                <a:gd name="T22" fmla="*/ 64 w 67"/>
                <a:gd name="T23" fmla="*/ 15 h 36"/>
                <a:gd name="T24" fmla="*/ 8 w 67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36">
                  <a:moveTo>
                    <a:pt x="8" y="36"/>
                  </a:moveTo>
                  <a:cubicBezTo>
                    <a:pt x="7" y="36"/>
                    <a:pt x="6" y="36"/>
                    <a:pt x="5" y="36"/>
                  </a:cubicBezTo>
                  <a:cubicBezTo>
                    <a:pt x="4" y="35"/>
                    <a:pt x="4" y="34"/>
                    <a:pt x="3" y="34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4"/>
                    <a:pt x="0" y="23"/>
                  </a:cubicBezTo>
                  <a:cubicBezTo>
                    <a:pt x="1" y="22"/>
                    <a:pt x="2" y="22"/>
                    <a:pt x="3" y="22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0"/>
                    <a:pt x="61" y="0"/>
                    <a:pt x="62" y="1"/>
                  </a:cubicBezTo>
                  <a:cubicBezTo>
                    <a:pt x="62" y="1"/>
                    <a:pt x="63" y="2"/>
                    <a:pt x="63" y="3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6" y="11"/>
                    <a:pt x="67" y="12"/>
                    <a:pt x="66" y="13"/>
                  </a:cubicBezTo>
                  <a:cubicBezTo>
                    <a:pt x="66" y="14"/>
                    <a:pt x="65" y="15"/>
                    <a:pt x="64" y="15"/>
                  </a:cubicBezTo>
                  <a:lnTo>
                    <a:pt x="8" y="36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0" name="îs1îḋé">
              <a:extLst>
                <a:ext uri="{FF2B5EF4-FFF2-40B4-BE49-F238E27FC236}">
                  <a16:creationId xmlns:a16="http://schemas.microsoft.com/office/drawing/2014/main" id="{7AC29C7A-85D4-404C-9044-0EB5B2987120}"/>
                </a:ext>
              </a:extLst>
            </p:cNvPr>
            <p:cNvSpPr/>
            <p:nvPr/>
          </p:nvSpPr>
          <p:spPr bwMode="auto">
            <a:xfrm>
              <a:off x="7042662" y="3187512"/>
              <a:ext cx="30861" cy="30861"/>
            </a:xfrm>
            <a:custGeom>
              <a:avLst/>
              <a:gdLst>
                <a:gd name="T0" fmla="*/ 1 w 18"/>
                <a:gd name="T1" fmla="*/ 12 h 18"/>
                <a:gd name="T2" fmla="*/ 12 w 18"/>
                <a:gd name="T3" fmla="*/ 17 h 18"/>
                <a:gd name="T4" fmla="*/ 16 w 18"/>
                <a:gd name="T5" fmla="*/ 6 h 18"/>
                <a:gd name="T6" fmla="*/ 6 w 18"/>
                <a:gd name="T7" fmla="*/ 1 h 18"/>
                <a:gd name="T8" fmla="*/ 1 w 18"/>
                <a:gd name="T9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" y="12"/>
                  </a:moveTo>
                  <a:cubicBezTo>
                    <a:pt x="3" y="16"/>
                    <a:pt x="7" y="18"/>
                    <a:pt x="12" y="17"/>
                  </a:cubicBezTo>
                  <a:cubicBezTo>
                    <a:pt x="16" y="15"/>
                    <a:pt x="18" y="11"/>
                    <a:pt x="16" y="6"/>
                  </a:cubicBezTo>
                  <a:cubicBezTo>
                    <a:pt x="14" y="2"/>
                    <a:pt x="10" y="0"/>
                    <a:pt x="6" y="1"/>
                  </a:cubicBezTo>
                  <a:cubicBezTo>
                    <a:pt x="2" y="3"/>
                    <a:pt x="0" y="7"/>
                    <a:pt x="1" y="12"/>
                  </a:cubicBez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1" name="îşḷïďê">
              <a:extLst>
                <a:ext uri="{FF2B5EF4-FFF2-40B4-BE49-F238E27FC236}">
                  <a16:creationId xmlns:a16="http://schemas.microsoft.com/office/drawing/2014/main" id="{44792988-C227-4430-965E-EAD66EA8CE17}"/>
                </a:ext>
              </a:extLst>
            </p:cNvPr>
            <p:cNvSpPr/>
            <p:nvPr/>
          </p:nvSpPr>
          <p:spPr bwMode="auto">
            <a:xfrm>
              <a:off x="7064265" y="3247691"/>
              <a:ext cx="30861" cy="32405"/>
            </a:xfrm>
            <a:custGeom>
              <a:avLst/>
              <a:gdLst>
                <a:gd name="T0" fmla="*/ 2 w 18"/>
                <a:gd name="T1" fmla="*/ 12 h 19"/>
                <a:gd name="T2" fmla="*/ 12 w 18"/>
                <a:gd name="T3" fmla="*/ 17 h 19"/>
                <a:gd name="T4" fmla="*/ 16 w 18"/>
                <a:gd name="T5" fmla="*/ 7 h 19"/>
                <a:gd name="T6" fmla="*/ 6 w 18"/>
                <a:gd name="T7" fmla="*/ 2 h 19"/>
                <a:gd name="T8" fmla="*/ 2 w 18"/>
                <a:gd name="T9" fmla="*/ 1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2" y="12"/>
                  </a:moveTo>
                  <a:cubicBezTo>
                    <a:pt x="3" y="17"/>
                    <a:pt x="8" y="19"/>
                    <a:pt x="12" y="17"/>
                  </a:cubicBezTo>
                  <a:cubicBezTo>
                    <a:pt x="16" y="16"/>
                    <a:pt x="18" y="11"/>
                    <a:pt x="16" y="7"/>
                  </a:cubicBezTo>
                  <a:cubicBezTo>
                    <a:pt x="15" y="3"/>
                    <a:pt x="10" y="0"/>
                    <a:pt x="6" y="2"/>
                  </a:cubicBezTo>
                  <a:cubicBezTo>
                    <a:pt x="2" y="3"/>
                    <a:pt x="0" y="8"/>
                    <a:pt x="2" y="12"/>
                  </a:cubicBez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2" name="ïṩḻïḓé">
              <a:extLst>
                <a:ext uri="{FF2B5EF4-FFF2-40B4-BE49-F238E27FC236}">
                  <a16:creationId xmlns:a16="http://schemas.microsoft.com/office/drawing/2014/main" id="{A23380F0-BC37-4F2C-9692-5AAD35CB98E4}"/>
                </a:ext>
              </a:extLst>
            </p:cNvPr>
            <p:cNvSpPr/>
            <p:nvPr/>
          </p:nvSpPr>
          <p:spPr bwMode="auto">
            <a:xfrm>
              <a:off x="6402296" y="2540973"/>
              <a:ext cx="678943" cy="395022"/>
            </a:xfrm>
            <a:custGeom>
              <a:avLst/>
              <a:gdLst>
                <a:gd name="T0" fmla="*/ 35 w 406"/>
                <a:gd name="T1" fmla="*/ 236 h 236"/>
                <a:gd name="T2" fmla="*/ 406 w 406"/>
                <a:gd name="T3" fmla="*/ 102 h 236"/>
                <a:gd name="T4" fmla="*/ 374 w 406"/>
                <a:gd name="T5" fmla="*/ 16 h 236"/>
                <a:gd name="T6" fmla="*/ 347 w 406"/>
                <a:gd name="T7" fmla="*/ 4 h 236"/>
                <a:gd name="T8" fmla="*/ 17 w 406"/>
                <a:gd name="T9" fmla="*/ 125 h 236"/>
                <a:gd name="T10" fmla="*/ 4 w 406"/>
                <a:gd name="T11" fmla="*/ 152 h 236"/>
                <a:gd name="T12" fmla="*/ 35 w 406"/>
                <a:gd name="T13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6" h="236">
                  <a:moveTo>
                    <a:pt x="35" y="236"/>
                  </a:moveTo>
                  <a:cubicBezTo>
                    <a:pt x="406" y="102"/>
                    <a:pt x="406" y="102"/>
                    <a:pt x="406" y="102"/>
                  </a:cubicBezTo>
                  <a:cubicBezTo>
                    <a:pt x="374" y="16"/>
                    <a:pt x="374" y="16"/>
                    <a:pt x="374" y="16"/>
                  </a:cubicBezTo>
                  <a:cubicBezTo>
                    <a:pt x="370" y="5"/>
                    <a:pt x="358" y="0"/>
                    <a:pt x="347" y="4"/>
                  </a:cubicBezTo>
                  <a:cubicBezTo>
                    <a:pt x="17" y="125"/>
                    <a:pt x="17" y="125"/>
                    <a:pt x="17" y="125"/>
                  </a:cubicBezTo>
                  <a:cubicBezTo>
                    <a:pt x="6" y="129"/>
                    <a:pt x="0" y="141"/>
                    <a:pt x="4" y="152"/>
                  </a:cubicBezTo>
                  <a:lnTo>
                    <a:pt x="35" y="236"/>
                  </a:lnTo>
                  <a:close/>
                </a:path>
              </a:pathLst>
            </a:custGeom>
            <a:solidFill>
              <a:srgbClr val="D670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3" name="iṧļîḍê">
              <a:extLst>
                <a:ext uri="{FF2B5EF4-FFF2-40B4-BE49-F238E27FC236}">
                  <a16:creationId xmlns:a16="http://schemas.microsoft.com/office/drawing/2014/main" id="{01F75EB1-CCDA-4FE4-9B17-2946BCEC46BC}"/>
                </a:ext>
              </a:extLst>
            </p:cNvPr>
            <p:cNvSpPr/>
            <p:nvPr/>
          </p:nvSpPr>
          <p:spPr bwMode="auto">
            <a:xfrm>
              <a:off x="6482535" y="2645900"/>
              <a:ext cx="544698" cy="302438"/>
            </a:xfrm>
            <a:custGeom>
              <a:avLst/>
              <a:gdLst>
                <a:gd name="T0" fmla="*/ 28 w 353"/>
                <a:gd name="T1" fmla="*/ 196 h 196"/>
                <a:gd name="T2" fmla="*/ 353 w 353"/>
                <a:gd name="T3" fmla="*/ 77 h 196"/>
                <a:gd name="T4" fmla="*/ 326 w 353"/>
                <a:gd name="T5" fmla="*/ 0 h 196"/>
                <a:gd name="T6" fmla="*/ 0 w 353"/>
                <a:gd name="T7" fmla="*/ 121 h 196"/>
                <a:gd name="T8" fmla="*/ 28 w 353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3" h="196">
                  <a:moveTo>
                    <a:pt x="28" y="196"/>
                  </a:moveTo>
                  <a:lnTo>
                    <a:pt x="353" y="77"/>
                  </a:lnTo>
                  <a:lnTo>
                    <a:pt x="326" y="0"/>
                  </a:lnTo>
                  <a:lnTo>
                    <a:pt x="0" y="121"/>
                  </a:lnTo>
                  <a:lnTo>
                    <a:pt x="28" y="1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4" name="íşḻiḋê">
              <a:extLst>
                <a:ext uri="{FF2B5EF4-FFF2-40B4-BE49-F238E27FC236}">
                  <a16:creationId xmlns:a16="http://schemas.microsoft.com/office/drawing/2014/main" id="{082EE07C-FDF2-42C4-8850-4D9823E5368D}"/>
                </a:ext>
              </a:extLst>
            </p:cNvPr>
            <p:cNvSpPr/>
            <p:nvPr/>
          </p:nvSpPr>
          <p:spPr bwMode="auto">
            <a:xfrm>
              <a:off x="6939278" y="2806378"/>
              <a:ext cx="719063" cy="609506"/>
            </a:xfrm>
            <a:custGeom>
              <a:avLst/>
              <a:gdLst>
                <a:gd name="T0" fmla="*/ 411 w 466"/>
                <a:gd name="T1" fmla="*/ 0 h 395"/>
                <a:gd name="T2" fmla="*/ 458 w 466"/>
                <a:gd name="T3" fmla="*/ 25 h 395"/>
                <a:gd name="T4" fmla="*/ 466 w 466"/>
                <a:gd name="T5" fmla="*/ 99 h 395"/>
                <a:gd name="T6" fmla="*/ 414 w 466"/>
                <a:gd name="T7" fmla="*/ 285 h 395"/>
                <a:gd name="T8" fmla="*/ 107 w 466"/>
                <a:gd name="T9" fmla="*/ 377 h 395"/>
                <a:gd name="T10" fmla="*/ 18 w 466"/>
                <a:gd name="T11" fmla="*/ 395 h 395"/>
                <a:gd name="T12" fmla="*/ 0 w 466"/>
                <a:gd name="T13" fmla="*/ 372 h 395"/>
                <a:gd name="T14" fmla="*/ 16 w 466"/>
                <a:gd name="T15" fmla="*/ 345 h 395"/>
                <a:gd name="T16" fmla="*/ 54 w 466"/>
                <a:gd name="T17" fmla="*/ 335 h 395"/>
                <a:gd name="T18" fmla="*/ 51 w 466"/>
                <a:gd name="T19" fmla="*/ 312 h 395"/>
                <a:gd name="T20" fmla="*/ 92 w 466"/>
                <a:gd name="T21" fmla="*/ 319 h 395"/>
                <a:gd name="T22" fmla="*/ 338 w 466"/>
                <a:gd name="T23" fmla="*/ 227 h 395"/>
                <a:gd name="T24" fmla="*/ 381 w 466"/>
                <a:gd name="T25" fmla="*/ 71 h 395"/>
                <a:gd name="T26" fmla="*/ 411 w 466"/>
                <a:gd name="T27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6" h="395">
                  <a:moveTo>
                    <a:pt x="411" y="0"/>
                  </a:moveTo>
                  <a:lnTo>
                    <a:pt x="458" y="25"/>
                  </a:lnTo>
                  <a:lnTo>
                    <a:pt x="466" y="99"/>
                  </a:lnTo>
                  <a:lnTo>
                    <a:pt x="414" y="285"/>
                  </a:lnTo>
                  <a:lnTo>
                    <a:pt x="107" y="377"/>
                  </a:lnTo>
                  <a:lnTo>
                    <a:pt x="18" y="395"/>
                  </a:lnTo>
                  <a:lnTo>
                    <a:pt x="0" y="372"/>
                  </a:lnTo>
                  <a:lnTo>
                    <a:pt x="16" y="345"/>
                  </a:lnTo>
                  <a:lnTo>
                    <a:pt x="54" y="335"/>
                  </a:lnTo>
                  <a:lnTo>
                    <a:pt x="51" y="312"/>
                  </a:lnTo>
                  <a:lnTo>
                    <a:pt x="92" y="319"/>
                  </a:lnTo>
                  <a:lnTo>
                    <a:pt x="338" y="227"/>
                  </a:lnTo>
                  <a:lnTo>
                    <a:pt x="381" y="71"/>
                  </a:lnTo>
                  <a:lnTo>
                    <a:pt x="411" y="0"/>
                  </a:lnTo>
                  <a:close/>
                </a:path>
              </a:pathLst>
            </a:custGeom>
            <a:solidFill>
              <a:srgbClr val="E8C8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5" name="íşḻïdé">
              <a:extLst>
                <a:ext uri="{FF2B5EF4-FFF2-40B4-BE49-F238E27FC236}">
                  <a16:creationId xmlns:a16="http://schemas.microsoft.com/office/drawing/2014/main" id="{1ADD0B83-217B-42C9-ADC7-C7A544261C82}"/>
                </a:ext>
              </a:extLst>
            </p:cNvPr>
            <p:cNvSpPr/>
            <p:nvPr/>
          </p:nvSpPr>
          <p:spPr bwMode="auto">
            <a:xfrm>
              <a:off x="3658748" y="4063966"/>
              <a:ext cx="354902" cy="1206667"/>
            </a:xfrm>
            <a:custGeom>
              <a:avLst/>
              <a:gdLst>
                <a:gd name="T0" fmla="*/ 230 w 230"/>
                <a:gd name="T1" fmla="*/ 84 h 782"/>
                <a:gd name="T2" fmla="*/ 0 w 230"/>
                <a:gd name="T3" fmla="*/ 0 h 782"/>
                <a:gd name="T4" fmla="*/ 48 w 230"/>
                <a:gd name="T5" fmla="*/ 401 h 782"/>
                <a:gd name="T6" fmla="*/ 16 w 230"/>
                <a:gd name="T7" fmla="*/ 774 h 782"/>
                <a:gd name="T8" fmla="*/ 15 w 230"/>
                <a:gd name="T9" fmla="*/ 776 h 782"/>
                <a:gd name="T10" fmla="*/ 15 w 230"/>
                <a:gd name="T11" fmla="*/ 776 h 782"/>
                <a:gd name="T12" fmla="*/ 15 w 230"/>
                <a:gd name="T13" fmla="*/ 777 h 782"/>
                <a:gd name="T14" fmla="*/ 61 w 230"/>
                <a:gd name="T15" fmla="*/ 782 h 782"/>
                <a:gd name="T16" fmla="*/ 61 w 230"/>
                <a:gd name="T17" fmla="*/ 782 h 782"/>
                <a:gd name="T18" fmla="*/ 63 w 230"/>
                <a:gd name="T19" fmla="*/ 782 h 782"/>
                <a:gd name="T20" fmla="*/ 168 w 230"/>
                <a:gd name="T21" fmla="*/ 447 h 782"/>
                <a:gd name="T22" fmla="*/ 221 w 230"/>
                <a:gd name="T23" fmla="*/ 118 h 782"/>
                <a:gd name="T24" fmla="*/ 230 w 230"/>
                <a:gd name="T25" fmla="*/ 84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0" h="782">
                  <a:moveTo>
                    <a:pt x="230" y="84"/>
                  </a:moveTo>
                  <a:lnTo>
                    <a:pt x="0" y="0"/>
                  </a:lnTo>
                  <a:lnTo>
                    <a:pt x="48" y="401"/>
                  </a:lnTo>
                  <a:lnTo>
                    <a:pt x="16" y="774"/>
                  </a:lnTo>
                  <a:lnTo>
                    <a:pt x="15" y="776"/>
                  </a:lnTo>
                  <a:lnTo>
                    <a:pt x="15" y="776"/>
                  </a:lnTo>
                  <a:lnTo>
                    <a:pt x="15" y="777"/>
                  </a:lnTo>
                  <a:lnTo>
                    <a:pt x="61" y="782"/>
                  </a:lnTo>
                  <a:lnTo>
                    <a:pt x="61" y="782"/>
                  </a:lnTo>
                  <a:lnTo>
                    <a:pt x="63" y="782"/>
                  </a:lnTo>
                  <a:lnTo>
                    <a:pt x="168" y="447"/>
                  </a:lnTo>
                  <a:lnTo>
                    <a:pt x="221" y="118"/>
                  </a:lnTo>
                  <a:lnTo>
                    <a:pt x="230" y="84"/>
                  </a:lnTo>
                  <a:close/>
                </a:path>
              </a:pathLst>
            </a:custGeom>
            <a:solidFill>
              <a:srgbClr val="353A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6" name="i$1îḋê">
              <a:extLst>
                <a:ext uri="{FF2B5EF4-FFF2-40B4-BE49-F238E27FC236}">
                  <a16:creationId xmlns:a16="http://schemas.microsoft.com/office/drawing/2014/main" id="{0421FB00-B1AD-4942-9F19-05B6939CF082}"/>
                </a:ext>
              </a:extLst>
            </p:cNvPr>
            <p:cNvSpPr/>
            <p:nvPr/>
          </p:nvSpPr>
          <p:spPr bwMode="auto">
            <a:xfrm>
              <a:off x="3664920" y="5252116"/>
              <a:ext cx="185166" cy="140418"/>
            </a:xfrm>
            <a:custGeom>
              <a:avLst/>
              <a:gdLst>
                <a:gd name="T0" fmla="*/ 59 w 120"/>
                <a:gd name="T1" fmla="*/ 2 h 91"/>
                <a:gd name="T2" fmla="*/ 12 w 120"/>
                <a:gd name="T3" fmla="*/ 0 h 91"/>
                <a:gd name="T4" fmla="*/ 0 w 120"/>
                <a:gd name="T5" fmla="*/ 40 h 91"/>
                <a:gd name="T6" fmla="*/ 1 w 120"/>
                <a:gd name="T7" fmla="*/ 40 h 91"/>
                <a:gd name="T8" fmla="*/ 0 w 120"/>
                <a:gd name="T9" fmla="*/ 40 h 91"/>
                <a:gd name="T10" fmla="*/ 79 w 120"/>
                <a:gd name="T11" fmla="*/ 86 h 91"/>
                <a:gd name="T12" fmla="*/ 115 w 120"/>
                <a:gd name="T13" fmla="*/ 91 h 91"/>
                <a:gd name="T14" fmla="*/ 120 w 120"/>
                <a:gd name="T15" fmla="*/ 48 h 91"/>
                <a:gd name="T16" fmla="*/ 110 w 120"/>
                <a:gd name="T17" fmla="*/ 41 h 91"/>
                <a:gd name="T18" fmla="*/ 59 w 120"/>
                <a:gd name="T19" fmla="*/ 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91">
                  <a:moveTo>
                    <a:pt x="59" y="2"/>
                  </a:moveTo>
                  <a:lnTo>
                    <a:pt x="12" y="0"/>
                  </a:lnTo>
                  <a:lnTo>
                    <a:pt x="0" y="40"/>
                  </a:lnTo>
                  <a:lnTo>
                    <a:pt x="1" y="40"/>
                  </a:lnTo>
                  <a:lnTo>
                    <a:pt x="0" y="40"/>
                  </a:lnTo>
                  <a:lnTo>
                    <a:pt x="79" y="86"/>
                  </a:lnTo>
                  <a:lnTo>
                    <a:pt x="115" y="91"/>
                  </a:lnTo>
                  <a:lnTo>
                    <a:pt x="120" y="48"/>
                  </a:lnTo>
                  <a:lnTo>
                    <a:pt x="110" y="41"/>
                  </a:lnTo>
                  <a:lnTo>
                    <a:pt x="59" y="2"/>
                  </a:lnTo>
                  <a:close/>
                </a:path>
              </a:pathLst>
            </a:custGeom>
            <a:solidFill>
              <a:srgbClr val="202B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7" name="işḷiḍè">
              <a:extLst>
                <a:ext uri="{FF2B5EF4-FFF2-40B4-BE49-F238E27FC236}">
                  <a16:creationId xmlns:a16="http://schemas.microsoft.com/office/drawing/2014/main" id="{0A387F7C-6B59-407E-9D33-A75CD30295C3}"/>
                </a:ext>
              </a:extLst>
            </p:cNvPr>
            <p:cNvSpPr/>
            <p:nvPr/>
          </p:nvSpPr>
          <p:spPr bwMode="auto">
            <a:xfrm>
              <a:off x="3887119" y="4124145"/>
              <a:ext cx="367247" cy="1188151"/>
            </a:xfrm>
            <a:custGeom>
              <a:avLst/>
              <a:gdLst>
                <a:gd name="T0" fmla="*/ 238 w 238"/>
                <a:gd name="T1" fmla="*/ 52 h 770"/>
                <a:gd name="T2" fmla="*/ 167 w 238"/>
                <a:gd name="T3" fmla="*/ 767 h 770"/>
                <a:gd name="T4" fmla="*/ 122 w 238"/>
                <a:gd name="T5" fmla="*/ 770 h 770"/>
                <a:gd name="T6" fmla="*/ 78 w 238"/>
                <a:gd name="T7" fmla="*/ 371 h 770"/>
                <a:gd name="T8" fmla="*/ 0 w 238"/>
                <a:gd name="T9" fmla="*/ 0 h 770"/>
                <a:gd name="T10" fmla="*/ 238 w 238"/>
                <a:gd name="T11" fmla="*/ 52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8" h="770">
                  <a:moveTo>
                    <a:pt x="238" y="52"/>
                  </a:moveTo>
                  <a:lnTo>
                    <a:pt x="167" y="767"/>
                  </a:lnTo>
                  <a:lnTo>
                    <a:pt x="122" y="770"/>
                  </a:lnTo>
                  <a:lnTo>
                    <a:pt x="78" y="371"/>
                  </a:lnTo>
                  <a:lnTo>
                    <a:pt x="0" y="0"/>
                  </a:lnTo>
                  <a:lnTo>
                    <a:pt x="238" y="52"/>
                  </a:lnTo>
                  <a:close/>
                </a:path>
              </a:pathLst>
            </a:custGeom>
            <a:solidFill>
              <a:srgbClr val="353A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8" name="iṣļíďe">
              <a:extLst>
                <a:ext uri="{FF2B5EF4-FFF2-40B4-BE49-F238E27FC236}">
                  <a16:creationId xmlns:a16="http://schemas.microsoft.com/office/drawing/2014/main" id="{1452E795-FA39-4CBF-9BD3-1CF5132ACA48}"/>
                </a:ext>
              </a:extLst>
            </p:cNvPr>
            <p:cNvSpPr/>
            <p:nvPr/>
          </p:nvSpPr>
          <p:spPr bwMode="auto">
            <a:xfrm>
              <a:off x="4066114" y="5290693"/>
              <a:ext cx="175908" cy="95669"/>
            </a:xfrm>
            <a:custGeom>
              <a:avLst/>
              <a:gdLst>
                <a:gd name="T0" fmla="*/ 53 w 114"/>
                <a:gd name="T1" fmla="*/ 0 h 62"/>
                <a:gd name="T2" fmla="*/ 114 w 114"/>
                <a:gd name="T3" fmla="*/ 34 h 62"/>
                <a:gd name="T4" fmla="*/ 108 w 114"/>
                <a:gd name="T5" fmla="*/ 62 h 62"/>
                <a:gd name="T6" fmla="*/ 0 w 114"/>
                <a:gd name="T7" fmla="*/ 46 h 62"/>
                <a:gd name="T8" fmla="*/ 6 w 114"/>
                <a:gd name="T9" fmla="*/ 5 h 62"/>
                <a:gd name="T10" fmla="*/ 53 w 114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4" h="62">
                  <a:moveTo>
                    <a:pt x="53" y="0"/>
                  </a:moveTo>
                  <a:lnTo>
                    <a:pt x="114" y="34"/>
                  </a:lnTo>
                  <a:lnTo>
                    <a:pt x="108" y="62"/>
                  </a:lnTo>
                  <a:lnTo>
                    <a:pt x="0" y="46"/>
                  </a:lnTo>
                  <a:lnTo>
                    <a:pt x="6" y="5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202B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9" name="îsļíḋè">
              <a:extLst>
                <a:ext uri="{FF2B5EF4-FFF2-40B4-BE49-F238E27FC236}">
                  <a16:creationId xmlns:a16="http://schemas.microsoft.com/office/drawing/2014/main" id="{FCB6AE56-46EB-492C-B784-8027D664850C}"/>
                </a:ext>
              </a:extLst>
            </p:cNvPr>
            <p:cNvSpPr/>
            <p:nvPr/>
          </p:nvSpPr>
          <p:spPr bwMode="auto">
            <a:xfrm>
              <a:off x="3380998" y="3084127"/>
              <a:ext cx="1063164" cy="1447384"/>
            </a:xfrm>
            <a:custGeom>
              <a:avLst/>
              <a:gdLst>
                <a:gd name="T0" fmla="*/ 621 w 635"/>
                <a:gd name="T1" fmla="*/ 829 h 865"/>
                <a:gd name="T2" fmla="*/ 635 w 635"/>
                <a:gd name="T3" fmla="*/ 787 h 865"/>
                <a:gd name="T4" fmla="*/ 622 w 635"/>
                <a:gd name="T5" fmla="*/ 696 h 865"/>
                <a:gd name="T6" fmla="*/ 587 w 635"/>
                <a:gd name="T7" fmla="*/ 502 h 865"/>
                <a:gd name="T8" fmla="*/ 511 w 635"/>
                <a:gd name="T9" fmla="*/ 191 h 865"/>
                <a:gd name="T10" fmla="*/ 493 w 635"/>
                <a:gd name="T11" fmla="*/ 141 h 865"/>
                <a:gd name="T12" fmla="*/ 481 w 635"/>
                <a:gd name="T13" fmla="*/ 121 h 865"/>
                <a:gd name="T14" fmla="*/ 372 w 635"/>
                <a:gd name="T15" fmla="*/ 11 h 865"/>
                <a:gd name="T16" fmla="*/ 369 w 635"/>
                <a:gd name="T17" fmla="*/ 10 h 865"/>
                <a:gd name="T18" fmla="*/ 222 w 635"/>
                <a:gd name="T19" fmla="*/ 27 h 865"/>
                <a:gd name="T20" fmla="*/ 200 w 635"/>
                <a:gd name="T21" fmla="*/ 43 h 865"/>
                <a:gd name="T22" fmla="*/ 154 w 635"/>
                <a:gd name="T23" fmla="*/ 93 h 865"/>
                <a:gd name="T24" fmla="*/ 141 w 635"/>
                <a:gd name="T25" fmla="*/ 161 h 865"/>
                <a:gd name="T26" fmla="*/ 120 w 635"/>
                <a:gd name="T27" fmla="*/ 300 h 865"/>
                <a:gd name="T28" fmla="*/ 83 w 635"/>
                <a:gd name="T29" fmla="*/ 560 h 865"/>
                <a:gd name="T30" fmla="*/ 65 w 635"/>
                <a:gd name="T31" fmla="*/ 693 h 865"/>
                <a:gd name="T32" fmla="*/ 7 w 635"/>
                <a:gd name="T33" fmla="*/ 809 h 865"/>
                <a:gd name="T34" fmla="*/ 109 w 635"/>
                <a:gd name="T35" fmla="*/ 856 h 865"/>
                <a:gd name="T36" fmla="*/ 238 w 635"/>
                <a:gd name="T37" fmla="*/ 863 h 865"/>
                <a:gd name="T38" fmla="*/ 521 w 635"/>
                <a:gd name="T39" fmla="*/ 854 h 865"/>
                <a:gd name="T40" fmla="*/ 619 w 635"/>
                <a:gd name="T41" fmla="*/ 831 h 865"/>
                <a:gd name="T42" fmla="*/ 621 w 635"/>
                <a:gd name="T43" fmla="*/ 829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35" h="865">
                  <a:moveTo>
                    <a:pt x="621" y="829"/>
                  </a:moveTo>
                  <a:cubicBezTo>
                    <a:pt x="635" y="820"/>
                    <a:pt x="635" y="804"/>
                    <a:pt x="635" y="787"/>
                  </a:cubicBezTo>
                  <a:cubicBezTo>
                    <a:pt x="635" y="757"/>
                    <a:pt x="629" y="726"/>
                    <a:pt x="622" y="696"/>
                  </a:cubicBezTo>
                  <a:cubicBezTo>
                    <a:pt x="609" y="641"/>
                    <a:pt x="594" y="574"/>
                    <a:pt x="587" y="502"/>
                  </a:cubicBezTo>
                  <a:cubicBezTo>
                    <a:pt x="570" y="316"/>
                    <a:pt x="511" y="191"/>
                    <a:pt x="511" y="191"/>
                  </a:cubicBezTo>
                  <a:cubicBezTo>
                    <a:pt x="493" y="141"/>
                    <a:pt x="493" y="141"/>
                    <a:pt x="493" y="141"/>
                  </a:cubicBezTo>
                  <a:cubicBezTo>
                    <a:pt x="489" y="134"/>
                    <a:pt x="485" y="128"/>
                    <a:pt x="481" y="121"/>
                  </a:cubicBezTo>
                  <a:cubicBezTo>
                    <a:pt x="457" y="84"/>
                    <a:pt x="416" y="21"/>
                    <a:pt x="372" y="11"/>
                  </a:cubicBezTo>
                  <a:cubicBezTo>
                    <a:pt x="371" y="11"/>
                    <a:pt x="370" y="10"/>
                    <a:pt x="369" y="10"/>
                  </a:cubicBezTo>
                  <a:cubicBezTo>
                    <a:pt x="323" y="0"/>
                    <a:pt x="264" y="5"/>
                    <a:pt x="222" y="27"/>
                  </a:cubicBezTo>
                  <a:cubicBezTo>
                    <a:pt x="214" y="32"/>
                    <a:pt x="207" y="37"/>
                    <a:pt x="200" y="43"/>
                  </a:cubicBezTo>
                  <a:cubicBezTo>
                    <a:pt x="180" y="59"/>
                    <a:pt x="163" y="68"/>
                    <a:pt x="154" y="93"/>
                  </a:cubicBezTo>
                  <a:cubicBezTo>
                    <a:pt x="147" y="115"/>
                    <a:pt x="145" y="139"/>
                    <a:pt x="141" y="161"/>
                  </a:cubicBezTo>
                  <a:cubicBezTo>
                    <a:pt x="132" y="207"/>
                    <a:pt x="127" y="254"/>
                    <a:pt x="120" y="300"/>
                  </a:cubicBezTo>
                  <a:cubicBezTo>
                    <a:pt x="108" y="386"/>
                    <a:pt x="97" y="473"/>
                    <a:pt x="83" y="560"/>
                  </a:cubicBezTo>
                  <a:cubicBezTo>
                    <a:pt x="76" y="604"/>
                    <a:pt x="69" y="649"/>
                    <a:pt x="65" y="693"/>
                  </a:cubicBezTo>
                  <a:cubicBezTo>
                    <a:pt x="62" y="733"/>
                    <a:pt x="27" y="773"/>
                    <a:pt x="7" y="809"/>
                  </a:cubicBezTo>
                  <a:cubicBezTo>
                    <a:pt x="0" y="821"/>
                    <a:pt x="100" y="854"/>
                    <a:pt x="109" y="856"/>
                  </a:cubicBezTo>
                  <a:cubicBezTo>
                    <a:pt x="151" y="865"/>
                    <a:pt x="195" y="863"/>
                    <a:pt x="238" y="863"/>
                  </a:cubicBezTo>
                  <a:cubicBezTo>
                    <a:pt x="333" y="864"/>
                    <a:pt x="427" y="861"/>
                    <a:pt x="521" y="854"/>
                  </a:cubicBezTo>
                  <a:cubicBezTo>
                    <a:pt x="552" y="852"/>
                    <a:pt x="591" y="846"/>
                    <a:pt x="619" y="831"/>
                  </a:cubicBezTo>
                  <a:cubicBezTo>
                    <a:pt x="619" y="830"/>
                    <a:pt x="620" y="830"/>
                    <a:pt x="621" y="829"/>
                  </a:cubicBezTo>
                  <a:close/>
                </a:path>
              </a:pathLst>
            </a:custGeom>
            <a:solidFill>
              <a:srgbClr val="D670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0" name="îṥļïḑê">
              <a:extLst>
                <a:ext uri="{FF2B5EF4-FFF2-40B4-BE49-F238E27FC236}">
                  <a16:creationId xmlns:a16="http://schemas.microsoft.com/office/drawing/2014/main" id="{3526C7EC-CE2E-4555-BDE4-B4A8E61016BB}"/>
                </a:ext>
              </a:extLst>
            </p:cNvPr>
            <p:cNvSpPr/>
            <p:nvPr/>
          </p:nvSpPr>
          <p:spPr bwMode="auto">
            <a:xfrm>
              <a:off x="3678807" y="3068697"/>
              <a:ext cx="583274" cy="1468986"/>
            </a:xfrm>
            <a:custGeom>
              <a:avLst/>
              <a:gdLst>
                <a:gd name="T0" fmla="*/ 140 w 348"/>
                <a:gd name="T1" fmla="*/ 14 h 878"/>
                <a:gd name="T2" fmla="*/ 79 w 348"/>
                <a:gd name="T3" fmla="*/ 120 h 878"/>
                <a:gd name="T4" fmla="*/ 42 w 348"/>
                <a:gd name="T5" fmla="*/ 626 h 878"/>
                <a:gd name="T6" fmla="*/ 0 w 348"/>
                <a:gd name="T7" fmla="*/ 872 h 878"/>
                <a:gd name="T8" fmla="*/ 162 w 348"/>
                <a:gd name="T9" fmla="*/ 878 h 878"/>
                <a:gd name="T10" fmla="*/ 348 w 348"/>
                <a:gd name="T11" fmla="*/ 863 h 878"/>
                <a:gd name="T12" fmla="*/ 275 w 348"/>
                <a:gd name="T13" fmla="*/ 663 h 878"/>
                <a:gd name="T14" fmla="*/ 241 w 348"/>
                <a:gd name="T15" fmla="*/ 149 h 878"/>
                <a:gd name="T16" fmla="*/ 140 w 348"/>
                <a:gd name="T17" fmla="*/ 14 h 8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8" h="878">
                  <a:moveTo>
                    <a:pt x="140" y="14"/>
                  </a:moveTo>
                  <a:cubicBezTo>
                    <a:pt x="140" y="14"/>
                    <a:pt x="86" y="0"/>
                    <a:pt x="79" y="120"/>
                  </a:cubicBezTo>
                  <a:cubicBezTo>
                    <a:pt x="72" y="240"/>
                    <a:pt x="60" y="543"/>
                    <a:pt x="42" y="626"/>
                  </a:cubicBezTo>
                  <a:cubicBezTo>
                    <a:pt x="25" y="709"/>
                    <a:pt x="0" y="872"/>
                    <a:pt x="0" y="872"/>
                  </a:cubicBezTo>
                  <a:cubicBezTo>
                    <a:pt x="162" y="878"/>
                    <a:pt x="162" y="878"/>
                    <a:pt x="162" y="878"/>
                  </a:cubicBezTo>
                  <a:cubicBezTo>
                    <a:pt x="348" y="863"/>
                    <a:pt x="348" y="863"/>
                    <a:pt x="348" y="863"/>
                  </a:cubicBezTo>
                  <a:cubicBezTo>
                    <a:pt x="348" y="863"/>
                    <a:pt x="285" y="746"/>
                    <a:pt x="275" y="663"/>
                  </a:cubicBezTo>
                  <a:cubicBezTo>
                    <a:pt x="265" y="580"/>
                    <a:pt x="282" y="266"/>
                    <a:pt x="241" y="149"/>
                  </a:cubicBezTo>
                  <a:cubicBezTo>
                    <a:pt x="199" y="32"/>
                    <a:pt x="190" y="16"/>
                    <a:pt x="140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1" name="isľíḑé">
              <a:extLst>
                <a:ext uri="{FF2B5EF4-FFF2-40B4-BE49-F238E27FC236}">
                  <a16:creationId xmlns:a16="http://schemas.microsoft.com/office/drawing/2014/main" id="{AEACF912-A59B-4EFD-B12D-A46D1D0B7385}"/>
                </a:ext>
              </a:extLst>
            </p:cNvPr>
            <p:cNvSpPr/>
            <p:nvPr/>
          </p:nvSpPr>
          <p:spPr bwMode="auto">
            <a:xfrm>
              <a:off x="4004391" y="3101101"/>
              <a:ext cx="472174" cy="462916"/>
            </a:xfrm>
            <a:custGeom>
              <a:avLst/>
              <a:gdLst>
                <a:gd name="T0" fmla="*/ 201 w 306"/>
                <a:gd name="T1" fmla="*/ 284 h 300"/>
                <a:gd name="T2" fmla="*/ 214 w 306"/>
                <a:gd name="T3" fmla="*/ 300 h 300"/>
                <a:gd name="T4" fmla="*/ 306 w 306"/>
                <a:gd name="T5" fmla="*/ 282 h 300"/>
                <a:gd name="T6" fmla="*/ 71 w 306"/>
                <a:gd name="T7" fmla="*/ 22 h 300"/>
                <a:gd name="T8" fmla="*/ 0 w 306"/>
                <a:gd name="T9" fmla="*/ 0 h 300"/>
                <a:gd name="T10" fmla="*/ 34 w 306"/>
                <a:gd name="T11" fmla="*/ 93 h 300"/>
                <a:gd name="T12" fmla="*/ 201 w 306"/>
                <a:gd name="T13" fmla="*/ 28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6" h="300">
                  <a:moveTo>
                    <a:pt x="201" y="284"/>
                  </a:moveTo>
                  <a:lnTo>
                    <a:pt x="214" y="300"/>
                  </a:lnTo>
                  <a:lnTo>
                    <a:pt x="306" y="282"/>
                  </a:lnTo>
                  <a:lnTo>
                    <a:pt x="71" y="22"/>
                  </a:lnTo>
                  <a:lnTo>
                    <a:pt x="0" y="0"/>
                  </a:lnTo>
                  <a:lnTo>
                    <a:pt x="34" y="93"/>
                  </a:lnTo>
                  <a:lnTo>
                    <a:pt x="201" y="284"/>
                  </a:lnTo>
                  <a:close/>
                </a:path>
              </a:pathLst>
            </a:custGeom>
            <a:solidFill>
              <a:srgbClr val="D670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2" name="íṡļîḍé">
              <a:extLst>
                <a:ext uri="{FF2B5EF4-FFF2-40B4-BE49-F238E27FC236}">
                  <a16:creationId xmlns:a16="http://schemas.microsoft.com/office/drawing/2014/main" id="{0B1262C4-1DBF-4805-B6A8-071FFE0656D1}"/>
                </a:ext>
              </a:extLst>
            </p:cNvPr>
            <p:cNvSpPr/>
            <p:nvPr/>
          </p:nvSpPr>
          <p:spPr bwMode="auto">
            <a:xfrm>
              <a:off x="3842370" y="2729225"/>
              <a:ext cx="265405" cy="351816"/>
            </a:xfrm>
            <a:custGeom>
              <a:avLst/>
              <a:gdLst>
                <a:gd name="T0" fmla="*/ 74 w 158"/>
                <a:gd name="T1" fmla="*/ 103 h 210"/>
                <a:gd name="T2" fmla="*/ 85 w 158"/>
                <a:gd name="T3" fmla="*/ 175 h 210"/>
                <a:gd name="T4" fmla="*/ 108 w 158"/>
                <a:gd name="T5" fmla="*/ 207 h 210"/>
                <a:gd name="T6" fmla="*/ 152 w 158"/>
                <a:gd name="T7" fmla="*/ 190 h 210"/>
                <a:gd name="T8" fmla="*/ 138 w 158"/>
                <a:gd name="T9" fmla="*/ 152 h 210"/>
                <a:gd name="T10" fmla="*/ 119 w 158"/>
                <a:gd name="T11" fmla="*/ 140 h 210"/>
                <a:gd name="T12" fmla="*/ 114 w 158"/>
                <a:gd name="T13" fmla="*/ 132 h 210"/>
                <a:gd name="T14" fmla="*/ 106 w 158"/>
                <a:gd name="T15" fmla="*/ 94 h 210"/>
                <a:gd name="T16" fmla="*/ 104 w 158"/>
                <a:gd name="T17" fmla="*/ 68 h 210"/>
                <a:gd name="T18" fmla="*/ 79 w 158"/>
                <a:gd name="T19" fmla="*/ 35 h 210"/>
                <a:gd name="T20" fmla="*/ 6 w 158"/>
                <a:gd name="T21" fmla="*/ 25 h 210"/>
                <a:gd name="T22" fmla="*/ 0 w 158"/>
                <a:gd name="T23" fmla="*/ 45 h 210"/>
                <a:gd name="T24" fmla="*/ 1 w 158"/>
                <a:gd name="T25" fmla="*/ 57 h 210"/>
                <a:gd name="T26" fmla="*/ 35 w 158"/>
                <a:gd name="T27" fmla="*/ 74 h 210"/>
                <a:gd name="T28" fmla="*/ 74 w 158"/>
                <a:gd name="T29" fmla="*/ 103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8" h="210">
                  <a:moveTo>
                    <a:pt x="74" y="103"/>
                  </a:moveTo>
                  <a:cubicBezTo>
                    <a:pt x="90" y="123"/>
                    <a:pt x="88" y="151"/>
                    <a:pt x="85" y="175"/>
                  </a:cubicBezTo>
                  <a:cubicBezTo>
                    <a:pt x="83" y="196"/>
                    <a:pt x="85" y="210"/>
                    <a:pt x="108" y="207"/>
                  </a:cubicBezTo>
                  <a:cubicBezTo>
                    <a:pt x="121" y="205"/>
                    <a:pt x="145" y="203"/>
                    <a:pt x="152" y="190"/>
                  </a:cubicBezTo>
                  <a:cubicBezTo>
                    <a:pt x="158" y="180"/>
                    <a:pt x="145" y="160"/>
                    <a:pt x="138" y="152"/>
                  </a:cubicBezTo>
                  <a:cubicBezTo>
                    <a:pt x="133" y="147"/>
                    <a:pt x="124" y="146"/>
                    <a:pt x="119" y="140"/>
                  </a:cubicBezTo>
                  <a:cubicBezTo>
                    <a:pt x="117" y="138"/>
                    <a:pt x="115" y="135"/>
                    <a:pt x="114" y="132"/>
                  </a:cubicBezTo>
                  <a:cubicBezTo>
                    <a:pt x="110" y="120"/>
                    <a:pt x="107" y="107"/>
                    <a:pt x="106" y="94"/>
                  </a:cubicBezTo>
                  <a:cubicBezTo>
                    <a:pt x="106" y="85"/>
                    <a:pt x="106" y="76"/>
                    <a:pt x="104" y="68"/>
                  </a:cubicBezTo>
                  <a:cubicBezTo>
                    <a:pt x="101" y="55"/>
                    <a:pt x="87" y="44"/>
                    <a:pt x="79" y="35"/>
                  </a:cubicBezTo>
                  <a:cubicBezTo>
                    <a:pt x="63" y="17"/>
                    <a:pt x="25" y="0"/>
                    <a:pt x="6" y="25"/>
                  </a:cubicBezTo>
                  <a:cubicBezTo>
                    <a:pt x="2" y="30"/>
                    <a:pt x="1" y="38"/>
                    <a:pt x="0" y="45"/>
                  </a:cubicBezTo>
                  <a:cubicBezTo>
                    <a:pt x="0" y="49"/>
                    <a:pt x="0" y="53"/>
                    <a:pt x="1" y="57"/>
                  </a:cubicBezTo>
                  <a:cubicBezTo>
                    <a:pt x="7" y="73"/>
                    <a:pt x="22" y="71"/>
                    <a:pt x="35" y="74"/>
                  </a:cubicBezTo>
                  <a:cubicBezTo>
                    <a:pt x="50" y="79"/>
                    <a:pt x="64" y="90"/>
                    <a:pt x="74" y="103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3" name="isļîdé">
              <a:extLst>
                <a:ext uri="{FF2B5EF4-FFF2-40B4-BE49-F238E27FC236}">
                  <a16:creationId xmlns:a16="http://schemas.microsoft.com/office/drawing/2014/main" id="{79584927-8020-4B0C-805E-365E51A29E00}"/>
                </a:ext>
              </a:extLst>
            </p:cNvPr>
            <p:cNvSpPr/>
            <p:nvPr/>
          </p:nvSpPr>
          <p:spPr bwMode="auto">
            <a:xfrm>
              <a:off x="3731271" y="2753914"/>
              <a:ext cx="263863" cy="384221"/>
            </a:xfrm>
            <a:custGeom>
              <a:avLst/>
              <a:gdLst>
                <a:gd name="T0" fmla="*/ 127 w 158"/>
                <a:gd name="T1" fmla="*/ 194 h 230"/>
                <a:gd name="T2" fmla="*/ 157 w 158"/>
                <a:gd name="T3" fmla="*/ 135 h 230"/>
                <a:gd name="T4" fmla="*/ 140 w 158"/>
                <a:gd name="T5" fmla="*/ 69 h 230"/>
                <a:gd name="T6" fmla="*/ 10 w 158"/>
                <a:gd name="T7" fmla="*/ 102 h 230"/>
                <a:gd name="T8" fmla="*/ 127 w 158"/>
                <a:gd name="T9" fmla="*/ 19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230">
                  <a:moveTo>
                    <a:pt x="127" y="194"/>
                  </a:moveTo>
                  <a:cubicBezTo>
                    <a:pt x="146" y="181"/>
                    <a:pt x="156" y="158"/>
                    <a:pt x="157" y="135"/>
                  </a:cubicBezTo>
                  <a:cubicBezTo>
                    <a:pt x="158" y="112"/>
                    <a:pt x="150" y="90"/>
                    <a:pt x="140" y="69"/>
                  </a:cubicBezTo>
                  <a:cubicBezTo>
                    <a:pt x="108" y="0"/>
                    <a:pt x="20" y="36"/>
                    <a:pt x="10" y="102"/>
                  </a:cubicBezTo>
                  <a:cubicBezTo>
                    <a:pt x="0" y="159"/>
                    <a:pt x="71" y="230"/>
                    <a:pt x="127" y="194"/>
                  </a:cubicBez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4" name="íS1ïdê">
              <a:extLst>
                <a:ext uri="{FF2B5EF4-FFF2-40B4-BE49-F238E27FC236}">
                  <a16:creationId xmlns:a16="http://schemas.microsoft.com/office/drawing/2014/main" id="{52CC5440-76A6-4EA7-847A-A9A85AB67929}"/>
                </a:ext>
              </a:extLst>
            </p:cNvPr>
            <p:cNvSpPr/>
            <p:nvPr/>
          </p:nvSpPr>
          <p:spPr bwMode="auto">
            <a:xfrm>
              <a:off x="3862431" y="3034750"/>
              <a:ext cx="89497" cy="94127"/>
            </a:xfrm>
            <a:custGeom>
              <a:avLst/>
              <a:gdLst>
                <a:gd name="T0" fmla="*/ 45 w 53"/>
                <a:gd name="T1" fmla="*/ 18 h 57"/>
                <a:gd name="T2" fmla="*/ 53 w 53"/>
                <a:gd name="T3" fmla="*/ 43 h 57"/>
                <a:gd name="T4" fmla="*/ 53 w 53"/>
                <a:gd name="T5" fmla="*/ 47 h 57"/>
                <a:gd name="T6" fmla="*/ 49 w 53"/>
                <a:gd name="T7" fmla="*/ 49 h 57"/>
                <a:gd name="T8" fmla="*/ 29 w 53"/>
                <a:gd name="T9" fmla="*/ 55 h 57"/>
                <a:gd name="T10" fmla="*/ 19 w 53"/>
                <a:gd name="T11" fmla="*/ 57 h 57"/>
                <a:gd name="T12" fmla="*/ 5 w 53"/>
                <a:gd name="T13" fmla="*/ 40 h 57"/>
                <a:gd name="T14" fmla="*/ 0 w 53"/>
                <a:gd name="T15" fmla="*/ 18 h 57"/>
                <a:gd name="T16" fmla="*/ 40 w 53"/>
                <a:gd name="T17" fmla="*/ 2 h 57"/>
                <a:gd name="T18" fmla="*/ 45 w 53"/>
                <a:gd name="T19" fmla="*/ 1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7">
                  <a:moveTo>
                    <a:pt x="45" y="18"/>
                  </a:moveTo>
                  <a:cubicBezTo>
                    <a:pt x="48" y="26"/>
                    <a:pt x="50" y="35"/>
                    <a:pt x="53" y="43"/>
                  </a:cubicBezTo>
                  <a:cubicBezTo>
                    <a:pt x="53" y="44"/>
                    <a:pt x="53" y="46"/>
                    <a:pt x="53" y="47"/>
                  </a:cubicBezTo>
                  <a:cubicBezTo>
                    <a:pt x="52" y="48"/>
                    <a:pt x="51" y="49"/>
                    <a:pt x="49" y="49"/>
                  </a:cubicBezTo>
                  <a:cubicBezTo>
                    <a:pt x="43" y="51"/>
                    <a:pt x="36" y="53"/>
                    <a:pt x="29" y="55"/>
                  </a:cubicBezTo>
                  <a:cubicBezTo>
                    <a:pt x="26" y="56"/>
                    <a:pt x="22" y="57"/>
                    <a:pt x="19" y="57"/>
                  </a:cubicBezTo>
                  <a:cubicBezTo>
                    <a:pt x="11" y="56"/>
                    <a:pt x="7" y="48"/>
                    <a:pt x="5" y="40"/>
                  </a:cubicBezTo>
                  <a:cubicBezTo>
                    <a:pt x="4" y="33"/>
                    <a:pt x="4" y="25"/>
                    <a:pt x="0" y="18"/>
                  </a:cubicBezTo>
                  <a:cubicBezTo>
                    <a:pt x="16" y="20"/>
                    <a:pt x="24" y="0"/>
                    <a:pt x="40" y="2"/>
                  </a:cubicBezTo>
                  <a:lnTo>
                    <a:pt x="45" y="18"/>
                  </a:ln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5" name="išḻîdê">
              <a:extLst>
                <a:ext uri="{FF2B5EF4-FFF2-40B4-BE49-F238E27FC236}">
                  <a16:creationId xmlns:a16="http://schemas.microsoft.com/office/drawing/2014/main" id="{B2306A9E-03F8-4A6C-B48E-CA2843BFA7C9}"/>
                </a:ext>
              </a:extLst>
            </p:cNvPr>
            <p:cNvSpPr/>
            <p:nvPr/>
          </p:nvSpPr>
          <p:spPr bwMode="auto">
            <a:xfrm>
              <a:off x="3595482" y="2658245"/>
              <a:ext cx="331757" cy="543155"/>
            </a:xfrm>
            <a:custGeom>
              <a:avLst/>
              <a:gdLst>
                <a:gd name="T0" fmla="*/ 97 w 198"/>
                <a:gd name="T1" fmla="*/ 30 h 325"/>
                <a:gd name="T2" fmla="*/ 51 w 198"/>
                <a:gd name="T3" fmla="*/ 93 h 325"/>
                <a:gd name="T4" fmla="*/ 17 w 198"/>
                <a:gd name="T5" fmla="*/ 122 h 325"/>
                <a:gd name="T6" fmla="*/ 24 w 198"/>
                <a:gd name="T7" fmla="*/ 221 h 325"/>
                <a:gd name="T8" fmla="*/ 16 w 198"/>
                <a:gd name="T9" fmla="*/ 240 h 325"/>
                <a:gd name="T10" fmla="*/ 19 w 198"/>
                <a:gd name="T11" fmla="*/ 284 h 325"/>
                <a:gd name="T12" fmla="*/ 23 w 198"/>
                <a:gd name="T13" fmla="*/ 294 h 325"/>
                <a:gd name="T14" fmla="*/ 103 w 198"/>
                <a:gd name="T15" fmla="*/ 298 h 325"/>
                <a:gd name="T16" fmla="*/ 112 w 198"/>
                <a:gd name="T17" fmla="*/ 279 h 325"/>
                <a:gd name="T18" fmla="*/ 111 w 198"/>
                <a:gd name="T19" fmla="*/ 278 h 325"/>
                <a:gd name="T20" fmla="*/ 112 w 198"/>
                <a:gd name="T21" fmla="*/ 237 h 325"/>
                <a:gd name="T22" fmla="*/ 120 w 198"/>
                <a:gd name="T23" fmla="*/ 224 h 325"/>
                <a:gd name="T24" fmla="*/ 109 w 198"/>
                <a:gd name="T25" fmla="*/ 190 h 325"/>
                <a:gd name="T26" fmla="*/ 186 w 198"/>
                <a:gd name="T27" fmla="*/ 87 h 325"/>
                <a:gd name="T28" fmla="*/ 97 w 198"/>
                <a:gd name="T29" fmla="*/ 30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8" h="325">
                  <a:moveTo>
                    <a:pt x="97" y="30"/>
                  </a:moveTo>
                  <a:cubicBezTo>
                    <a:pt x="77" y="47"/>
                    <a:pt x="70" y="76"/>
                    <a:pt x="51" y="93"/>
                  </a:cubicBezTo>
                  <a:cubicBezTo>
                    <a:pt x="40" y="103"/>
                    <a:pt x="24" y="109"/>
                    <a:pt x="17" y="122"/>
                  </a:cubicBezTo>
                  <a:cubicBezTo>
                    <a:pt x="0" y="152"/>
                    <a:pt x="35" y="189"/>
                    <a:pt x="24" y="221"/>
                  </a:cubicBezTo>
                  <a:cubicBezTo>
                    <a:pt x="22" y="227"/>
                    <a:pt x="18" y="233"/>
                    <a:pt x="16" y="240"/>
                  </a:cubicBezTo>
                  <a:cubicBezTo>
                    <a:pt x="11" y="254"/>
                    <a:pt x="15" y="270"/>
                    <a:pt x="19" y="284"/>
                  </a:cubicBezTo>
                  <a:cubicBezTo>
                    <a:pt x="20" y="287"/>
                    <a:pt x="21" y="291"/>
                    <a:pt x="23" y="294"/>
                  </a:cubicBezTo>
                  <a:cubicBezTo>
                    <a:pt x="38" y="325"/>
                    <a:pt x="85" y="306"/>
                    <a:pt x="103" y="298"/>
                  </a:cubicBezTo>
                  <a:cubicBezTo>
                    <a:pt x="123" y="288"/>
                    <a:pt x="112" y="279"/>
                    <a:pt x="112" y="279"/>
                  </a:cubicBezTo>
                  <a:cubicBezTo>
                    <a:pt x="111" y="278"/>
                    <a:pt x="111" y="278"/>
                    <a:pt x="111" y="278"/>
                  </a:cubicBezTo>
                  <a:cubicBezTo>
                    <a:pt x="104" y="266"/>
                    <a:pt x="104" y="250"/>
                    <a:pt x="112" y="237"/>
                  </a:cubicBezTo>
                  <a:cubicBezTo>
                    <a:pt x="115" y="233"/>
                    <a:pt x="118" y="229"/>
                    <a:pt x="120" y="224"/>
                  </a:cubicBezTo>
                  <a:cubicBezTo>
                    <a:pt x="122" y="212"/>
                    <a:pt x="112" y="202"/>
                    <a:pt x="109" y="190"/>
                  </a:cubicBezTo>
                  <a:cubicBezTo>
                    <a:pt x="97" y="144"/>
                    <a:pt x="176" y="127"/>
                    <a:pt x="186" y="87"/>
                  </a:cubicBezTo>
                  <a:cubicBezTo>
                    <a:pt x="198" y="38"/>
                    <a:pt x="136" y="0"/>
                    <a:pt x="97" y="30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6" name="íśľïdè">
              <a:extLst>
                <a:ext uri="{FF2B5EF4-FFF2-40B4-BE49-F238E27FC236}">
                  <a16:creationId xmlns:a16="http://schemas.microsoft.com/office/drawing/2014/main" id="{8B23C34D-A908-486A-AB14-D1476FA19422}"/>
                </a:ext>
              </a:extLst>
            </p:cNvPr>
            <p:cNvSpPr/>
            <p:nvPr/>
          </p:nvSpPr>
          <p:spPr bwMode="auto">
            <a:xfrm>
              <a:off x="3455065" y="3898859"/>
              <a:ext cx="106471" cy="132703"/>
            </a:xfrm>
            <a:custGeom>
              <a:avLst/>
              <a:gdLst>
                <a:gd name="T0" fmla="*/ 11 w 69"/>
                <a:gd name="T1" fmla="*/ 44 h 86"/>
                <a:gd name="T2" fmla="*/ 51 w 69"/>
                <a:gd name="T3" fmla="*/ 86 h 86"/>
                <a:gd name="T4" fmla="*/ 69 w 69"/>
                <a:gd name="T5" fmla="*/ 68 h 86"/>
                <a:gd name="T6" fmla="*/ 47 w 69"/>
                <a:gd name="T7" fmla="*/ 35 h 86"/>
                <a:gd name="T8" fmla="*/ 60 w 69"/>
                <a:gd name="T9" fmla="*/ 31 h 86"/>
                <a:gd name="T10" fmla="*/ 21 w 69"/>
                <a:gd name="T11" fmla="*/ 0 h 86"/>
                <a:gd name="T12" fmla="*/ 0 w 69"/>
                <a:gd name="T13" fmla="*/ 15 h 86"/>
                <a:gd name="T14" fmla="*/ 11 w 69"/>
                <a:gd name="T15" fmla="*/ 4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86">
                  <a:moveTo>
                    <a:pt x="11" y="44"/>
                  </a:moveTo>
                  <a:lnTo>
                    <a:pt x="51" y="86"/>
                  </a:lnTo>
                  <a:lnTo>
                    <a:pt x="69" y="68"/>
                  </a:lnTo>
                  <a:lnTo>
                    <a:pt x="47" y="35"/>
                  </a:lnTo>
                  <a:lnTo>
                    <a:pt x="60" y="31"/>
                  </a:lnTo>
                  <a:lnTo>
                    <a:pt x="21" y="0"/>
                  </a:lnTo>
                  <a:lnTo>
                    <a:pt x="0" y="15"/>
                  </a:lnTo>
                  <a:lnTo>
                    <a:pt x="11" y="44"/>
                  </a:lnTo>
                  <a:close/>
                </a:path>
              </a:pathLst>
            </a:custGeom>
            <a:solidFill>
              <a:srgbClr val="DEC9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7" name="ïṧ1ïďè">
              <a:extLst>
                <a:ext uri="{FF2B5EF4-FFF2-40B4-BE49-F238E27FC236}">
                  <a16:creationId xmlns:a16="http://schemas.microsoft.com/office/drawing/2014/main" id="{1DA7A497-586E-457D-8DAF-AE3CD441BCF8}"/>
                </a:ext>
              </a:extLst>
            </p:cNvPr>
            <p:cNvSpPr/>
            <p:nvPr/>
          </p:nvSpPr>
          <p:spPr bwMode="auto">
            <a:xfrm>
              <a:off x="3365567" y="3156650"/>
              <a:ext cx="384221" cy="783871"/>
            </a:xfrm>
            <a:custGeom>
              <a:avLst/>
              <a:gdLst>
                <a:gd name="T0" fmla="*/ 249 w 249"/>
                <a:gd name="T1" fmla="*/ 171 h 508"/>
                <a:gd name="T2" fmla="*/ 114 w 249"/>
                <a:gd name="T3" fmla="*/ 274 h 508"/>
                <a:gd name="T4" fmla="*/ 92 w 249"/>
                <a:gd name="T5" fmla="*/ 474 h 508"/>
                <a:gd name="T6" fmla="*/ 48 w 249"/>
                <a:gd name="T7" fmla="*/ 508 h 508"/>
                <a:gd name="T8" fmla="*/ 0 w 249"/>
                <a:gd name="T9" fmla="*/ 213 h 508"/>
                <a:gd name="T10" fmla="*/ 227 w 249"/>
                <a:gd name="T11" fmla="*/ 0 h 508"/>
                <a:gd name="T12" fmla="*/ 249 w 249"/>
                <a:gd name="T13" fmla="*/ 171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" h="508">
                  <a:moveTo>
                    <a:pt x="249" y="171"/>
                  </a:moveTo>
                  <a:lnTo>
                    <a:pt x="114" y="274"/>
                  </a:lnTo>
                  <a:lnTo>
                    <a:pt x="92" y="474"/>
                  </a:lnTo>
                  <a:lnTo>
                    <a:pt x="48" y="508"/>
                  </a:lnTo>
                  <a:lnTo>
                    <a:pt x="0" y="213"/>
                  </a:lnTo>
                  <a:lnTo>
                    <a:pt x="227" y="0"/>
                  </a:lnTo>
                  <a:lnTo>
                    <a:pt x="249" y="171"/>
                  </a:lnTo>
                  <a:close/>
                </a:path>
              </a:pathLst>
            </a:custGeom>
            <a:solidFill>
              <a:srgbClr val="D670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8" name="îşḷide">
              <a:extLst>
                <a:ext uri="{FF2B5EF4-FFF2-40B4-BE49-F238E27FC236}">
                  <a16:creationId xmlns:a16="http://schemas.microsoft.com/office/drawing/2014/main" id="{1226DB97-52BD-48A0-AC23-2F345D26E592}"/>
                </a:ext>
              </a:extLst>
            </p:cNvPr>
            <p:cNvSpPr/>
            <p:nvPr/>
          </p:nvSpPr>
          <p:spPr bwMode="auto">
            <a:xfrm>
              <a:off x="3634059" y="3431314"/>
              <a:ext cx="121902" cy="788500"/>
            </a:xfrm>
            <a:custGeom>
              <a:avLst/>
              <a:gdLst>
                <a:gd name="T0" fmla="*/ 27 w 79"/>
                <a:gd name="T1" fmla="*/ 511 h 511"/>
                <a:gd name="T2" fmla="*/ 0 w 79"/>
                <a:gd name="T3" fmla="*/ 509 h 511"/>
                <a:gd name="T4" fmla="*/ 52 w 79"/>
                <a:gd name="T5" fmla="*/ 0 h 511"/>
                <a:gd name="T6" fmla="*/ 79 w 79"/>
                <a:gd name="T7" fmla="*/ 3 h 511"/>
                <a:gd name="T8" fmla="*/ 27 w 79"/>
                <a:gd name="T9" fmla="*/ 511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511">
                  <a:moveTo>
                    <a:pt x="27" y="511"/>
                  </a:moveTo>
                  <a:lnTo>
                    <a:pt x="0" y="509"/>
                  </a:lnTo>
                  <a:lnTo>
                    <a:pt x="52" y="0"/>
                  </a:lnTo>
                  <a:lnTo>
                    <a:pt x="79" y="3"/>
                  </a:lnTo>
                  <a:lnTo>
                    <a:pt x="27" y="511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9" name="ïşľïḍé">
              <a:extLst>
                <a:ext uri="{FF2B5EF4-FFF2-40B4-BE49-F238E27FC236}">
                  <a16:creationId xmlns:a16="http://schemas.microsoft.com/office/drawing/2014/main" id="{6916119F-44B2-4B13-80FE-3F7E2AC81B9A}"/>
                </a:ext>
              </a:extLst>
            </p:cNvPr>
            <p:cNvSpPr/>
            <p:nvPr/>
          </p:nvSpPr>
          <p:spPr bwMode="auto">
            <a:xfrm>
              <a:off x="3999762" y="3466805"/>
              <a:ext cx="124988" cy="791587"/>
            </a:xfrm>
            <a:custGeom>
              <a:avLst/>
              <a:gdLst>
                <a:gd name="T0" fmla="*/ 28 w 81"/>
                <a:gd name="T1" fmla="*/ 513 h 513"/>
                <a:gd name="T2" fmla="*/ 0 w 81"/>
                <a:gd name="T3" fmla="*/ 510 h 513"/>
                <a:gd name="T4" fmla="*/ 54 w 81"/>
                <a:gd name="T5" fmla="*/ 0 h 513"/>
                <a:gd name="T6" fmla="*/ 81 w 81"/>
                <a:gd name="T7" fmla="*/ 4 h 513"/>
                <a:gd name="T8" fmla="*/ 28 w 81"/>
                <a:gd name="T9" fmla="*/ 51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513">
                  <a:moveTo>
                    <a:pt x="28" y="513"/>
                  </a:moveTo>
                  <a:lnTo>
                    <a:pt x="0" y="510"/>
                  </a:lnTo>
                  <a:lnTo>
                    <a:pt x="54" y="0"/>
                  </a:lnTo>
                  <a:lnTo>
                    <a:pt x="81" y="4"/>
                  </a:lnTo>
                  <a:lnTo>
                    <a:pt x="28" y="513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0" name="î$1íḋê">
              <a:extLst>
                <a:ext uri="{FF2B5EF4-FFF2-40B4-BE49-F238E27FC236}">
                  <a16:creationId xmlns:a16="http://schemas.microsoft.com/office/drawing/2014/main" id="{AE2CD436-8CA3-4AB4-AE29-754AA996A4D7}"/>
                </a:ext>
              </a:extLst>
            </p:cNvPr>
            <p:cNvSpPr/>
            <p:nvPr/>
          </p:nvSpPr>
          <p:spPr bwMode="auto">
            <a:xfrm>
              <a:off x="4368552" y="3505380"/>
              <a:ext cx="121902" cy="791587"/>
            </a:xfrm>
            <a:custGeom>
              <a:avLst/>
              <a:gdLst>
                <a:gd name="T0" fmla="*/ 27 w 79"/>
                <a:gd name="T1" fmla="*/ 513 h 513"/>
                <a:gd name="T2" fmla="*/ 0 w 79"/>
                <a:gd name="T3" fmla="*/ 510 h 513"/>
                <a:gd name="T4" fmla="*/ 52 w 79"/>
                <a:gd name="T5" fmla="*/ 0 h 513"/>
                <a:gd name="T6" fmla="*/ 79 w 79"/>
                <a:gd name="T7" fmla="*/ 4 h 513"/>
                <a:gd name="T8" fmla="*/ 27 w 79"/>
                <a:gd name="T9" fmla="*/ 51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513">
                  <a:moveTo>
                    <a:pt x="27" y="513"/>
                  </a:moveTo>
                  <a:lnTo>
                    <a:pt x="0" y="510"/>
                  </a:lnTo>
                  <a:lnTo>
                    <a:pt x="52" y="0"/>
                  </a:lnTo>
                  <a:lnTo>
                    <a:pt x="79" y="4"/>
                  </a:lnTo>
                  <a:lnTo>
                    <a:pt x="27" y="513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1" name="îŝlïḍe">
              <a:extLst>
                <a:ext uri="{FF2B5EF4-FFF2-40B4-BE49-F238E27FC236}">
                  <a16:creationId xmlns:a16="http://schemas.microsoft.com/office/drawing/2014/main" id="{B507ED2F-9DBE-4243-9CC6-F8F77705D8E8}"/>
                </a:ext>
              </a:extLst>
            </p:cNvPr>
            <p:cNvSpPr/>
            <p:nvPr/>
          </p:nvSpPr>
          <p:spPr bwMode="auto">
            <a:xfrm>
              <a:off x="3515243" y="3361877"/>
              <a:ext cx="1215926" cy="220657"/>
            </a:xfrm>
            <a:custGeom>
              <a:avLst/>
              <a:gdLst>
                <a:gd name="T0" fmla="*/ 781 w 788"/>
                <a:gd name="T1" fmla="*/ 143 h 143"/>
                <a:gd name="T2" fmla="*/ 0 w 788"/>
                <a:gd name="T3" fmla="*/ 63 h 143"/>
                <a:gd name="T4" fmla="*/ 6 w 788"/>
                <a:gd name="T5" fmla="*/ 0 h 143"/>
                <a:gd name="T6" fmla="*/ 788 w 788"/>
                <a:gd name="T7" fmla="*/ 80 h 143"/>
                <a:gd name="T8" fmla="*/ 781 w 788"/>
                <a:gd name="T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8" h="143">
                  <a:moveTo>
                    <a:pt x="781" y="143"/>
                  </a:moveTo>
                  <a:lnTo>
                    <a:pt x="0" y="63"/>
                  </a:lnTo>
                  <a:lnTo>
                    <a:pt x="6" y="0"/>
                  </a:lnTo>
                  <a:lnTo>
                    <a:pt x="788" y="80"/>
                  </a:lnTo>
                  <a:lnTo>
                    <a:pt x="781" y="143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2" name="iśḻiḑè">
              <a:extLst>
                <a:ext uri="{FF2B5EF4-FFF2-40B4-BE49-F238E27FC236}">
                  <a16:creationId xmlns:a16="http://schemas.microsoft.com/office/drawing/2014/main" id="{4F524ECD-4E40-4C36-AFE7-3DF71AB0DC46}"/>
                </a:ext>
              </a:extLst>
            </p:cNvPr>
            <p:cNvSpPr/>
            <p:nvPr/>
          </p:nvSpPr>
          <p:spPr bwMode="auto">
            <a:xfrm>
              <a:off x="3435004" y="4145748"/>
              <a:ext cx="1212840" cy="222200"/>
            </a:xfrm>
            <a:custGeom>
              <a:avLst/>
              <a:gdLst>
                <a:gd name="T0" fmla="*/ 780 w 786"/>
                <a:gd name="T1" fmla="*/ 144 h 144"/>
                <a:gd name="T2" fmla="*/ 0 w 786"/>
                <a:gd name="T3" fmla="*/ 64 h 144"/>
                <a:gd name="T4" fmla="*/ 6 w 786"/>
                <a:gd name="T5" fmla="*/ 0 h 144"/>
                <a:gd name="T6" fmla="*/ 786 w 786"/>
                <a:gd name="T7" fmla="*/ 81 h 144"/>
                <a:gd name="T8" fmla="*/ 780 w 786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6" h="144">
                  <a:moveTo>
                    <a:pt x="780" y="144"/>
                  </a:moveTo>
                  <a:lnTo>
                    <a:pt x="0" y="64"/>
                  </a:lnTo>
                  <a:lnTo>
                    <a:pt x="6" y="0"/>
                  </a:lnTo>
                  <a:lnTo>
                    <a:pt x="786" y="81"/>
                  </a:lnTo>
                  <a:lnTo>
                    <a:pt x="780" y="144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3" name="îṥ1îḋe">
              <a:extLst>
                <a:ext uri="{FF2B5EF4-FFF2-40B4-BE49-F238E27FC236}">
                  <a16:creationId xmlns:a16="http://schemas.microsoft.com/office/drawing/2014/main" id="{0181C383-3C8E-4B1E-9A4B-A4090ED28B27}"/>
                </a:ext>
              </a:extLst>
            </p:cNvPr>
            <p:cNvSpPr/>
            <p:nvPr/>
          </p:nvSpPr>
          <p:spPr bwMode="auto">
            <a:xfrm>
              <a:off x="3564621" y="3523897"/>
              <a:ext cx="308611" cy="132703"/>
            </a:xfrm>
            <a:custGeom>
              <a:avLst/>
              <a:gdLst>
                <a:gd name="T0" fmla="*/ 150 w 184"/>
                <a:gd name="T1" fmla="*/ 78 h 79"/>
                <a:gd name="T2" fmla="*/ 27 w 184"/>
                <a:gd name="T3" fmla="*/ 65 h 79"/>
                <a:gd name="T4" fmla="*/ 2 w 184"/>
                <a:gd name="T5" fmla="*/ 34 h 79"/>
                <a:gd name="T6" fmla="*/ 2 w 184"/>
                <a:gd name="T7" fmla="*/ 27 h 79"/>
                <a:gd name="T8" fmla="*/ 33 w 184"/>
                <a:gd name="T9" fmla="*/ 2 h 79"/>
                <a:gd name="T10" fmla="*/ 157 w 184"/>
                <a:gd name="T11" fmla="*/ 15 h 79"/>
                <a:gd name="T12" fmla="*/ 182 w 184"/>
                <a:gd name="T13" fmla="*/ 46 h 79"/>
                <a:gd name="T14" fmla="*/ 182 w 184"/>
                <a:gd name="T15" fmla="*/ 52 h 79"/>
                <a:gd name="T16" fmla="*/ 150 w 184"/>
                <a:gd name="T17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79">
                  <a:moveTo>
                    <a:pt x="150" y="78"/>
                  </a:moveTo>
                  <a:cubicBezTo>
                    <a:pt x="27" y="65"/>
                    <a:pt x="27" y="65"/>
                    <a:pt x="27" y="65"/>
                  </a:cubicBezTo>
                  <a:cubicBezTo>
                    <a:pt x="11" y="63"/>
                    <a:pt x="0" y="49"/>
                    <a:pt x="2" y="34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4" y="12"/>
                    <a:pt x="18" y="0"/>
                    <a:pt x="33" y="2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72" y="16"/>
                    <a:pt x="184" y="30"/>
                    <a:pt x="182" y="46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180" y="68"/>
                    <a:pt x="166" y="79"/>
                    <a:pt x="150" y="78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4" name="išḷïďe">
              <a:extLst>
                <a:ext uri="{FF2B5EF4-FFF2-40B4-BE49-F238E27FC236}">
                  <a16:creationId xmlns:a16="http://schemas.microsoft.com/office/drawing/2014/main" id="{0145C16D-B779-444D-8BF2-284185BC7249}"/>
                </a:ext>
              </a:extLst>
            </p:cNvPr>
            <p:cNvSpPr/>
            <p:nvPr/>
          </p:nvSpPr>
          <p:spPr bwMode="auto">
            <a:xfrm>
              <a:off x="3541475" y="3759985"/>
              <a:ext cx="307068" cy="132703"/>
            </a:xfrm>
            <a:custGeom>
              <a:avLst/>
              <a:gdLst>
                <a:gd name="T0" fmla="*/ 150 w 183"/>
                <a:gd name="T1" fmla="*/ 77 h 79"/>
                <a:gd name="T2" fmla="*/ 27 w 183"/>
                <a:gd name="T3" fmla="*/ 64 h 79"/>
                <a:gd name="T4" fmla="*/ 1 w 183"/>
                <a:gd name="T5" fmla="*/ 33 h 79"/>
                <a:gd name="T6" fmla="*/ 2 w 183"/>
                <a:gd name="T7" fmla="*/ 27 h 79"/>
                <a:gd name="T8" fmla="*/ 33 w 183"/>
                <a:gd name="T9" fmla="*/ 1 h 79"/>
                <a:gd name="T10" fmla="*/ 156 w 183"/>
                <a:gd name="T11" fmla="*/ 14 h 79"/>
                <a:gd name="T12" fmla="*/ 182 w 183"/>
                <a:gd name="T13" fmla="*/ 45 h 79"/>
                <a:gd name="T14" fmla="*/ 181 w 183"/>
                <a:gd name="T15" fmla="*/ 52 h 79"/>
                <a:gd name="T16" fmla="*/ 150 w 183"/>
                <a:gd name="T1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79">
                  <a:moveTo>
                    <a:pt x="150" y="77"/>
                  </a:moveTo>
                  <a:cubicBezTo>
                    <a:pt x="27" y="64"/>
                    <a:pt x="27" y="64"/>
                    <a:pt x="27" y="64"/>
                  </a:cubicBezTo>
                  <a:cubicBezTo>
                    <a:pt x="11" y="63"/>
                    <a:pt x="0" y="49"/>
                    <a:pt x="1" y="33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4" y="11"/>
                    <a:pt x="18" y="0"/>
                    <a:pt x="33" y="1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72" y="16"/>
                    <a:pt x="183" y="30"/>
                    <a:pt x="182" y="45"/>
                  </a:cubicBezTo>
                  <a:cubicBezTo>
                    <a:pt x="181" y="52"/>
                    <a:pt x="181" y="52"/>
                    <a:pt x="181" y="52"/>
                  </a:cubicBezTo>
                  <a:cubicBezTo>
                    <a:pt x="179" y="67"/>
                    <a:pt x="165" y="79"/>
                    <a:pt x="150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5" name="íṡḻïdê">
              <a:extLst>
                <a:ext uri="{FF2B5EF4-FFF2-40B4-BE49-F238E27FC236}">
                  <a16:creationId xmlns:a16="http://schemas.microsoft.com/office/drawing/2014/main" id="{F6572612-B68F-42B6-8BE3-5D3268162DBB}"/>
                </a:ext>
              </a:extLst>
            </p:cNvPr>
            <p:cNvSpPr/>
            <p:nvPr/>
          </p:nvSpPr>
          <p:spPr bwMode="auto">
            <a:xfrm>
              <a:off x="3527588" y="3891144"/>
              <a:ext cx="307068" cy="131160"/>
            </a:xfrm>
            <a:custGeom>
              <a:avLst/>
              <a:gdLst>
                <a:gd name="T0" fmla="*/ 150 w 183"/>
                <a:gd name="T1" fmla="*/ 77 h 79"/>
                <a:gd name="T2" fmla="*/ 26 w 183"/>
                <a:gd name="T3" fmla="*/ 65 h 79"/>
                <a:gd name="T4" fmla="*/ 1 w 183"/>
                <a:gd name="T5" fmla="*/ 34 h 79"/>
                <a:gd name="T6" fmla="*/ 2 w 183"/>
                <a:gd name="T7" fmla="*/ 27 h 79"/>
                <a:gd name="T8" fmla="*/ 33 w 183"/>
                <a:gd name="T9" fmla="*/ 2 h 79"/>
                <a:gd name="T10" fmla="*/ 156 w 183"/>
                <a:gd name="T11" fmla="*/ 14 h 79"/>
                <a:gd name="T12" fmla="*/ 182 w 183"/>
                <a:gd name="T13" fmla="*/ 46 h 79"/>
                <a:gd name="T14" fmla="*/ 181 w 183"/>
                <a:gd name="T15" fmla="*/ 52 h 79"/>
                <a:gd name="T16" fmla="*/ 150 w 183"/>
                <a:gd name="T1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79">
                  <a:moveTo>
                    <a:pt x="150" y="77"/>
                  </a:moveTo>
                  <a:cubicBezTo>
                    <a:pt x="26" y="65"/>
                    <a:pt x="26" y="65"/>
                    <a:pt x="26" y="65"/>
                  </a:cubicBezTo>
                  <a:cubicBezTo>
                    <a:pt x="11" y="63"/>
                    <a:pt x="0" y="49"/>
                    <a:pt x="1" y="34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3" y="12"/>
                    <a:pt x="17" y="0"/>
                    <a:pt x="33" y="2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72" y="16"/>
                    <a:pt x="183" y="30"/>
                    <a:pt x="182" y="46"/>
                  </a:cubicBezTo>
                  <a:cubicBezTo>
                    <a:pt x="181" y="52"/>
                    <a:pt x="181" y="52"/>
                    <a:pt x="181" y="52"/>
                  </a:cubicBezTo>
                  <a:cubicBezTo>
                    <a:pt x="179" y="68"/>
                    <a:pt x="165" y="79"/>
                    <a:pt x="150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6" name="íṣļiḋe">
              <a:extLst>
                <a:ext uri="{FF2B5EF4-FFF2-40B4-BE49-F238E27FC236}">
                  <a16:creationId xmlns:a16="http://schemas.microsoft.com/office/drawing/2014/main" id="{84AD8F1B-6E93-425D-98E0-BC26F454FA18}"/>
                </a:ext>
              </a:extLst>
            </p:cNvPr>
            <p:cNvSpPr/>
            <p:nvPr/>
          </p:nvSpPr>
          <p:spPr bwMode="auto">
            <a:xfrm>
              <a:off x="3513701" y="4022304"/>
              <a:ext cx="307068" cy="132703"/>
            </a:xfrm>
            <a:custGeom>
              <a:avLst/>
              <a:gdLst>
                <a:gd name="T0" fmla="*/ 151 w 184"/>
                <a:gd name="T1" fmla="*/ 78 h 79"/>
                <a:gd name="T2" fmla="*/ 27 w 184"/>
                <a:gd name="T3" fmla="*/ 65 h 79"/>
                <a:gd name="T4" fmla="*/ 2 w 184"/>
                <a:gd name="T5" fmla="*/ 34 h 79"/>
                <a:gd name="T6" fmla="*/ 3 w 184"/>
                <a:gd name="T7" fmla="*/ 27 h 79"/>
                <a:gd name="T8" fmla="*/ 34 w 184"/>
                <a:gd name="T9" fmla="*/ 2 h 79"/>
                <a:gd name="T10" fmla="*/ 157 w 184"/>
                <a:gd name="T11" fmla="*/ 15 h 79"/>
                <a:gd name="T12" fmla="*/ 183 w 184"/>
                <a:gd name="T13" fmla="*/ 46 h 79"/>
                <a:gd name="T14" fmla="*/ 182 w 184"/>
                <a:gd name="T15" fmla="*/ 52 h 79"/>
                <a:gd name="T16" fmla="*/ 151 w 184"/>
                <a:gd name="T17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79">
                  <a:moveTo>
                    <a:pt x="151" y="78"/>
                  </a:moveTo>
                  <a:cubicBezTo>
                    <a:pt x="27" y="65"/>
                    <a:pt x="27" y="65"/>
                    <a:pt x="27" y="65"/>
                  </a:cubicBezTo>
                  <a:cubicBezTo>
                    <a:pt x="12" y="63"/>
                    <a:pt x="0" y="49"/>
                    <a:pt x="2" y="34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4" y="12"/>
                    <a:pt x="18" y="0"/>
                    <a:pt x="34" y="2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73" y="16"/>
                    <a:pt x="184" y="30"/>
                    <a:pt x="183" y="46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180" y="68"/>
                    <a:pt x="166" y="79"/>
                    <a:pt x="151" y="78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7" name="iṧļîdê">
              <a:extLst>
                <a:ext uri="{FF2B5EF4-FFF2-40B4-BE49-F238E27FC236}">
                  <a16:creationId xmlns:a16="http://schemas.microsoft.com/office/drawing/2014/main" id="{C8CBDCB2-41E0-4E20-BBB9-CA024E0C5720}"/>
                </a:ext>
              </a:extLst>
            </p:cNvPr>
            <p:cNvSpPr/>
            <p:nvPr/>
          </p:nvSpPr>
          <p:spPr bwMode="auto">
            <a:xfrm>
              <a:off x="3933411" y="3562474"/>
              <a:ext cx="307068" cy="132703"/>
            </a:xfrm>
            <a:custGeom>
              <a:avLst/>
              <a:gdLst>
                <a:gd name="T0" fmla="*/ 150 w 183"/>
                <a:gd name="T1" fmla="*/ 77 h 79"/>
                <a:gd name="T2" fmla="*/ 26 w 183"/>
                <a:gd name="T3" fmla="*/ 64 h 79"/>
                <a:gd name="T4" fmla="*/ 1 w 183"/>
                <a:gd name="T5" fmla="*/ 33 h 79"/>
                <a:gd name="T6" fmla="*/ 2 w 183"/>
                <a:gd name="T7" fmla="*/ 27 h 79"/>
                <a:gd name="T8" fmla="*/ 33 w 183"/>
                <a:gd name="T9" fmla="*/ 1 h 79"/>
                <a:gd name="T10" fmla="*/ 156 w 183"/>
                <a:gd name="T11" fmla="*/ 14 h 79"/>
                <a:gd name="T12" fmla="*/ 182 w 183"/>
                <a:gd name="T13" fmla="*/ 45 h 79"/>
                <a:gd name="T14" fmla="*/ 181 w 183"/>
                <a:gd name="T15" fmla="*/ 52 h 79"/>
                <a:gd name="T16" fmla="*/ 150 w 183"/>
                <a:gd name="T1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79">
                  <a:moveTo>
                    <a:pt x="150" y="77"/>
                  </a:moveTo>
                  <a:cubicBezTo>
                    <a:pt x="26" y="64"/>
                    <a:pt x="26" y="64"/>
                    <a:pt x="26" y="64"/>
                  </a:cubicBezTo>
                  <a:cubicBezTo>
                    <a:pt x="11" y="63"/>
                    <a:pt x="0" y="49"/>
                    <a:pt x="1" y="33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3" y="11"/>
                    <a:pt x="17" y="0"/>
                    <a:pt x="33" y="1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72" y="16"/>
                    <a:pt x="183" y="30"/>
                    <a:pt x="182" y="45"/>
                  </a:cubicBezTo>
                  <a:cubicBezTo>
                    <a:pt x="181" y="52"/>
                    <a:pt x="181" y="52"/>
                    <a:pt x="181" y="52"/>
                  </a:cubicBezTo>
                  <a:cubicBezTo>
                    <a:pt x="179" y="67"/>
                    <a:pt x="165" y="79"/>
                    <a:pt x="150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8" name="iṥľiḋê">
              <a:extLst>
                <a:ext uri="{FF2B5EF4-FFF2-40B4-BE49-F238E27FC236}">
                  <a16:creationId xmlns:a16="http://schemas.microsoft.com/office/drawing/2014/main" id="{6C12F774-EB2F-4811-BABB-929C518C6A47}"/>
                </a:ext>
              </a:extLst>
            </p:cNvPr>
            <p:cNvSpPr/>
            <p:nvPr/>
          </p:nvSpPr>
          <p:spPr bwMode="auto">
            <a:xfrm>
              <a:off x="3917980" y="3696719"/>
              <a:ext cx="308611" cy="131160"/>
            </a:xfrm>
            <a:custGeom>
              <a:avLst/>
              <a:gdLst>
                <a:gd name="T0" fmla="*/ 151 w 184"/>
                <a:gd name="T1" fmla="*/ 77 h 79"/>
                <a:gd name="T2" fmla="*/ 27 w 184"/>
                <a:gd name="T3" fmla="*/ 65 h 79"/>
                <a:gd name="T4" fmla="*/ 2 w 184"/>
                <a:gd name="T5" fmla="*/ 34 h 79"/>
                <a:gd name="T6" fmla="*/ 3 w 184"/>
                <a:gd name="T7" fmla="*/ 27 h 79"/>
                <a:gd name="T8" fmla="*/ 34 w 184"/>
                <a:gd name="T9" fmla="*/ 2 h 79"/>
                <a:gd name="T10" fmla="*/ 157 w 184"/>
                <a:gd name="T11" fmla="*/ 14 h 79"/>
                <a:gd name="T12" fmla="*/ 182 w 184"/>
                <a:gd name="T13" fmla="*/ 45 h 79"/>
                <a:gd name="T14" fmla="*/ 182 w 184"/>
                <a:gd name="T15" fmla="*/ 52 h 79"/>
                <a:gd name="T16" fmla="*/ 151 w 184"/>
                <a:gd name="T1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79">
                  <a:moveTo>
                    <a:pt x="151" y="77"/>
                  </a:moveTo>
                  <a:cubicBezTo>
                    <a:pt x="27" y="65"/>
                    <a:pt x="27" y="65"/>
                    <a:pt x="27" y="65"/>
                  </a:cubicBezTo>
                  <a:cubicBezTo>
                    <a:pt x="12" y="63"/>
                    <a:pt x="0" y="49"/>
                    <a:pt x="2" y="34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4" y="11"/>
                    <a:pt x="18" y="0"/>
                    <a:pt x="34" y="2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73" y="16"/>
                    <a:pt x="184" y="30"/>
                    <a:pt x="182" y="45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180" y="68"/>
                    <a:pt x="166" y="79"/>
                    <a:pt x="151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9" name="íSḻïḋè">
              <a:extLst>
                <a:ext uri="{FF2B5EF4-FFF2-40B4-BE49-F238E27FC236}">
                  <a16:creationId xmlns:a16="http://schemas.microsoft.com/office/drawing/2014/main" id="{E2398A5C-F224-48B7-97FF-91F64E024936}"/>
                </a:ext>
              </a:extLst>
            </p:cNvPr>
            <p:cNvSpPr/>
            <p:nvPr/>
          </p:nvSpPr>
          <p:spPr bwMode="auto">
            <a:xfrm>
              <a:off x="3894834" y="3928177"/>
              <a:ext cx="308611" cy="132703"/>
            </a:xfrm>
            <a:custGeom>
              <a:avLst/>
              <a:gdLst>
                <a:gd name="T0" fmla="*/ 150 w 184"/>
                <a:gd name="T1" fmla="*/ 77 h 79"/>
                <a:gd name="T2" fmla="*/ 27 w 184"/>
                <a:gd name="T3" fmla="*/ 64 h 79"/>
                <a:gd name="T4" fmla="*/ 2 w 184"/>
                <a:gd name="T5" fmla="*/ 33 h 79"/>
                <a:gd name="T6" fmla="*/ 2 w 184"/>
                <a:gd name="T7" fmla="*/ 27 h 79"/>
                <a:gd name="T8" fmla="*/ 33 w 184"/>
                <a:gd name="T9" fmla="*/ 1 h 79"/>
                <a:gd name="T10" fmla="*/ 157 w 184"/>
                <a:gd name="T11" fmla="*/ 14 h 79"/>
                <a:gd name="T12" fmla="*/ 182 w 184"/>
                <a:gd name="T13" fmla="*/ 45 h 79"/>
                <a:gd name="T14" fmla="*/ 182 w 184"/>
                <a:gd name="T15" fmla="*/ 52 h 79"/>
                <a:gd name="T16" fmla="*/ 150 w 184"/>
                <a:gd name="T1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79">
                  <a:moveTo>
                    <a:pt x="150" y="77"/>
                  </a:moveTo>
                  <a:cubicBezTo>
                    <a:pt x="27" y="64"/>
                    <a:pt x="27" y="64"/>
                    <a:pt x="27" y="64"/>
                  </a:cubicBezTo>
                  <a:cubicBezTo>
                    <a:pt x="11" y="63"/>
                    <a:pt x="0" y="49"/>
                    <a:pt x="2" y="33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4" y="11"/>
                    <a:pt x="18" y="0"/>
                    <a:pt x="33" y="1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72" y="16"/>
                    <a:pt x="184" y="30"/>
                    <a:pt x="182" y="45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180" y="67"/>
                    <a:pt x="166" y="79"/>
                    <a:pt x="150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0" name="išḷiḍe">
              <a:extLst>
                <a:ext uri="{FF2B5EF4-FFF2-40B4-BE49-F238E27FC236}">
                  <a16:creationId xmlns:a16="http://schemas.microsoft.com/office/drawing/2014/main" id="{9CC55E14-89C1-4410-8051-E8006B057346}"/>
                </a:ext>
              </a:extLst>
            </p:cNvPr>
            <p:cNvSpPr/>
            <p:nvPr/>
          </p:nvSpPr>
          <p:spPr bwMode="auto">
            <a:xfrm>
              <a:off x="3880947" y="4060879"/>
              <a:ext cx="308611" cy="132703"/>
            </a:xfrm>
            <a:custGeom>
              <a:avLst/>
              <a:gdLst>
                <a:gd name="T0" fmla="*/ 150 w 184"/>
                <a:gd name="T1" fmla="*/ 77 h 79"/>
                <a:gd name="T2" fmla="*/ 27 w 184"/>
                <a:gd name="T3" fmla="*/ 65 h 79"/>
                <a:gd name="T4" fmla="*/ 2 w 184"/>
                <a:gd name="T5" fmla="*/ 34 h 79"/>
                <a:gd name="T6" fmla="*/ 2 w 184"/>
                <a:gd name="T7" fmla="*/ 27 h 79"/>
                <a:gd name="T8" fmla="*/ 33 w 184"/>
                <a:gd name="T9" fmla="*/ 2 h 79"/>
                <a:gd name="T10" fmla="*/ 157 w 184"/>
                <a:gd name="T11" fmla="*/ 14 h 79"/>
                <a:gd name="T12" fmla="*/ 182 w 184"/>
                <a:gd name="T13" fmla="*/ 45 h 79"/>
                <a:gd name="T14" fmla="*/ 181 w 184"/>
                <a:gd name="T15" fmla="*/ 52 h 79"/>
                <a:gd name="T16" fmla="*/ 150 w 184"/>
                <a:gd name="T1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79">
                  <a:moveTo>
                    <a:pt x="150" y="77"/>
                  </a:moveTo>
                  <a:cubicBezTo>
                    <a:pt x="27" y="65"/>
                    <a:pt x="27" y="65"/>
                    <a:pt x="27" y="65"/>
                  </a:cubicBezTo>
                  <a:cubicBezTo>
                    <a:pt x="11" y="63"/>
                    <a:pt x="0" y="49"/>
                    <a:pt x="2" y="34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4" y="11"/>
                    <a:pt x="18" y="0"/>
                    <a:pt x="33" y="2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72" y="16"/>
                    <a:pt x="184" y="30"/>
                    <a:pt x="182" y="45"/>
                  </a:cubicBezTo>
                  <a:cubicBezTo>
                    <a:pt x="181" y="52"/>
                    <a:pt x="181" y="52"/>
                    <a:pt x="181" y="52"/>
                  </a:cubicBezTo>
                  <a:cubicBezTo>
                    <a:pt x="180" y="68"/>
                    <a:pt x="166" y="79"/>
                    <a:pt x="150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1" name="i$liďe">
              <a:extLst>
                <a:ext uri="{FF2B5EF4-FFF2-40B4-BE49-F238E27FC236}">
                  <a16:creationId xmlns:a16="http://schemas.microsoft.com/office/drawing/2014/main" id="{5CFBC8FC-036A-4F62-A9AA-950E1F56483A}"/>
                </a:ext>
              </a:extLst>
            </p:cNvPr>
            <p:cNvSpPr/>
            <p:nvPr/>
          </p:nvSpPr>
          <p:spPr bwMode="auto">
            <a:xfrm>
              <a:off x="4300658" y="3599507"/>
              <a:ext cx="307068" cy="132703"/>
            </a:xfrm>
            <a:custGeom>
              <a:avLst/>
              <a:gdLst>
                <a:gd name="T0" fmla="*/ 150 w 184"/>
                <a:gd name="T1" fmla="*/ 78 h 79"/>
                <a:gd name="T2" fmla="*/ 27 w 184"/>
                <a:gd name="T3" fmla="*/ 65 h 79"/>
                <a:gd name="T4" fmla="*/ 2 w 184"/>
                <a:gd name="T5" fmla="*/ 34 h 79"/>
                <a:gd name="T6" fmla="*/ 2 w 184"/>
                <a:gd name="T7" fmla="*/ 27 h 79"/>
                <a:gd name="T8" fmla="*/ 33 w 184"/>
                <a:gd name="T9" fmla="*/ 2 h 79"/>
                <a:gd name="T10" fmla="*/ 157 w 184"/>
                <a:gd name="T11" fmla="*/ 15 h 79"/>
                <a:gd name="T12" fmla="*/ 182 w 184"/>
                <a:gd name="T13" fmla="*/ 46 h 79"/>
                <a:gd name="T14" fmla="*/ 182 w 184"/>
                <a:gd name="T15" fmla="*/ 52 h 79"/>
                <a:gd name="T16" fmla="*/ 150 w 184"/>
                <a:gd name="T17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79">
                  <a:moveTo>
                    <a:pt x="150" y="78"/>
                  </a:moveTo>
                  <a:cubicBezTo>
                    <a:pt x="27" y="65"/>
                    <a:pt x="27" y="65"/>
                    <a:pt x="27" y="65"/>
                  </a:cubicBezTo>
                  <a:cubicBezTo>
                    <a:pt x="11" y="63"/>
                    <a:pt x="0" y="49"/>
                    <a:pt x="2" y="34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4" y="12"/>
                    <a:pt x="18" y="0"/>
                    <a:pt x="33" y="2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72" y="16"/>
                    <a:pt x="184" y="30"/>
                    <a:pt x="182" y="46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180" y="68"/>
                    <a:pt x="166" y="79"/>
                    <a:pt x="150" y="78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2" name="ïṩlïḑé">
              <a:extLst>
                <a:ext uri="{FF2B5EF4-FFF2-40B4-BE49-F238E27FC236}">
                  <a16:creationId xmlns:a16="http://schemas.microsoft.com/office/drawing/2014/main" id="{1FA47045-AD25-4D05-A91D-EF2688B0720C}"/>
                </a:ext>
              </a:extLst>
            </p:cNvPr>
            <p:cNvSpPr/>
            <p:nvPr/>
          </p:nvSpPr>
          <p:spPr bwMode="auto">
            <a:xfrm>
              <a:off x="4275969" y="3835594"/>
              <a:ext cx="307068" cy="131160"/>
            </a:xfrm>
            <a:custGeom>
              <a:avLst/>
              <a:gdLst>
                <a:gd name="T0" fmla="*/ 150 w 183"/>
                <a:gd name="T1" fmla="*/ 77 h 79"/>
                <a:gd name="T2" fmla="*/ 27 w 183"/>
                <a:gd name="T3" fmla="*/ 64 h 79"/>
                <a:gd name="T4" fmla="*/ 1 w 183"/>
                <a:gd name="T5" fmla="*/ 33 h 79"/>
                <a:gd name="T6" fmla="*/ 2 w 183"/>
                <a:gd name="T7" fmla="*/ 27 h 79"/>
                <a:gd name="T8" fmla="*/ 33 w 183"/>
                <a:gd name="T9" fmla="*/ 1 h 79"/>
                <a:gd name="T10" fmla="*/ 156 w 183"/>
                <a:gd name="T11" fmla="*/ 14 h 79"/>
                <a:gd name="T12" fmla="*/ 182 w 183"/>
                <a:gd name="T13" fmla="*/ 45 h 79"/>
                <a:gd name="T14" fmla="*/ 181 w 183"/>
                <a:gd name="T15" fmla="*/ 52 h 79"/>
                <a:gd name="T16" fmla="*/ 150 w 183"/>
                <a:gd name="T1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79">
                  <a:moveTo>
                    <a:pt x="150" y="77"/>
                  </a:moveTo>
                  <a:cubicBezTo>
                    <a:pt x="27" y="64"/>
                    <a:pt x="27" y="64"/>
                    <a:pt x="27" y="64"/>
                  </a:cubicBezTo>
                  <a:cubicBezTo>
                    <a:pt x="11" y="63"/>
                    <a:pt x="0" y="49"/>
                    <a:pt x="1" y="33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3" y="11"/>
                    <a:pt x="17" y="0"/>
                    <a:pt x="33" y="1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72" y="16"/>
                    <a:pt x="183" y="30"/>
                    <a:pt x="182" y="45"/>
                  </a:cubicBezTo>
                  <a:cubicBezTo>
                    <a:pt x="181" y="52"/>
                    <a:pt x="181" y="52"/>
                    <a:pt x="181" y="52"/>
                  </a:cubicBezTo>
                  <a:cubicBezTo>
                    <a:pt x="179" y="67"/>
                    <a:pt x="165" y="79"/>
                    <a:pt x="150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3" name="îṥḷïḑè">
              <a:extLst>
                <a:ext uri="{FF2B5EF4-FFF2-40B4-BE49-F238E27FC236}">
                  <a16:creationId xmlns:a16="http://schemas.microsoft.com/office/drawing/2014/main" id="{26A5819C-FC1E-472F-AEF5-B15DB3AF4A47}"/>
                </a:ext>
              </a:extLst>
            </p:cNvPr>
            <p:cNvSpPr/>
            <p:nvPr/>
          </p:nvSpPr>
          <p:spPr bwMode="auto">
            <a:xfrm>
              <a:off x="4263624" y="3965210"/>
              <a:ext cx="305524" cy="132703"/>
            </a:xfrm>
            <a:custGeom>
              <a:avLst/>
              <a:gdLst>
                <a:gd name="T0" fmla="*/ 150 w 183"/>
                <a:gd name="T1" fmla="*/ 78 h 79"/>
                <a:gd name="T2" fmla="*/ 26 w 183"/>
                <a:gd name="T3" fmla="*/ 65 h 79"/>
                <a:gd name="T4" fmla="*/ 1 w 183"/>
                <a:gd name="T5" fmla="*/ 34 h 79"/>
                <a:gd name="T6" fmla="*/ 2 w 183"/>
                <a:gd name="T7" fmla="*/ 27 h 79"/>
                <a:gd name="T8" fmla="*/ 33 w 183"/>
                <a:gd name="T9" fmla="*/ 2 h 79"/>
                <a:gd name="T10" fmla="*/ 156 w 183"/>
                <a:gd name="T11" fmla="*/ 15 h 79"/>
                <a:gd name="T12" fmla="*/ 182 w 183"/>
                <a:gd name="T13" fmla="*/ 46 h 79"/>
                <a:gd name="T14" fmla="*/ 181 w 183"/>
                <a:gd name="T15" fmla="*/ 52 h 79"/>
                <a:gd name="T16" fmla="*/ 150 w 183"/>
                <a:gd name="T17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79">
                  <a:moveTo>
                    <a:pt x="150" y="78"/>
                  </a:moveTo>
                  <a:cubicBezTo>
                    <a:pt x="26" y="65"/>
                    <a:pt x="26" y="65"/>
                    <a:pt x="26" y="65"/>
                  </a:cubicBezTo>
                  <a:cubicBezTo>
                    <a:pt x="11" y="63"/>
                    <a:pt x="0" y="49"/>
                    <a:pt x="1" y="34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3" y="12"/>
                    <a:pt x="17" y="0"/>
                    <a:pt x="33" y="2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72" y="16"/>
                    <a:pt x="183" y="30"/>
                    <a:pt x="182" y="46"/>
                  </a:cubicBezTo>
                  <a:cubicBezTo>
                    <a:pt x="181" y="52"/>
                    <a:pt x="181" y="52"/>
                    <a:pt x="181" y="52"/>
                  </a:cubicBezTo>
                  <a:cubicBezTo>
                    <a:pt x="179" y="68"/>
                    <a:pt x="165" y="79"/>
                    <a:pt x="150" y="78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4" name="ï$1iḍe">
              <a:extLst>
                <a:ext uri="{FF2B5EF4-FFF2-40B4-BE49-F238E27FC236}">
                  <a16:creationId xmlns:a16="http://schemas.microsoft.com/office/drawing/2014/main" id="{C4DD6317-C9B7-47A3-B46A-39AD7A7842B2}"/>
                </a:ext>
              </a:extLst>
            </p:cNvPr>
            <p:cNvSpPr/>
            <p:nvPr/>
          </p:nvSpPr>
          <p:spPr bwMode="auto">
            <a:xfrm>
              <a:off x="4248194" y="4099456"/>
              <a:ext cx="308611" cy="129616"/>
            </a:xfrm>
            <a:custGeom>
              <a:avLst/>
              <a:gdLst>
                <a:gd name="T0" fmla="*/ 151 w 184"/>
                <a:gd name="T1" fmla="*/ 77 h 78"/>
                <a:gd name="T2" fmla="*/ 27 w 184"/>
                <a:gd name="T3" fmla="*/ 64 h 78"/>
                <a:gd name="T4" fmla="*/ 2 w 184"/>
                <a:gd name="T5" fmla="*/ 33 h 78"/>
                <a:gd name="T6" fmla="*/ 3 w 184"/>
                <a:gd name="T7" fmla="*/ 27 h 78"/>
                <a:gd name="T8" fmla="*/ 34 w 184"/>
                <a:gd name="T9" fmla="*/ 1 h 78"/>
                <a:gd name="T10" fmla="*/ 157 w 184"/>
                <a:gd name="T11" fmla="*/ 14 h 78"/>
                <a:gd name="T12" fmla="*/ 183 w 184"/>
                <a:gd name="T13" fmla="*/ 45 h 78"/>
                <a:gd name="T14" fmla="*/ 182 w 184"/>
                <a:gd name="T15" fmla="*/ 52 h 78"/>
                <a:gd name="T16" fmla="*/ 151 w 184"/>
                <a:gd name="T17" fmla="*/ 77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78">
                  <a:moveTo>
                    <a:pt x="151" y="77"/>
                  </a:moveTo>
                  <a:cubicBezTo>
                    <a:pt x="27" y="64"/>
                    <a:pt x="27" y="64"/>
                    <a:pt x="27" y="64"/>
                  </a:cubicBezTo>
                  <a:cubicBezTo>
                    <a:pt x="12" y="63"/>
                    <a:pt x="0" y="49"/>
                    <a:pt x="2" y="33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4" y="11"/>
                    <a:pt x="18" y="0"/>
                    <a:pt x="34" y="1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73" y="15"/>
                    <a:pt x="184" y="29"/>
                    <a:pt x="183" y="45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180" y="67"/>
                    <a:pt x="166" y="78"/>
                    <a:pt x="151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5" name="iṡľidè">
              <a:extLst>
                <a:ext uri="{FF2B5EF4-FFF2-40B4-BE49-F238E27FC236}">
                  <a16:creationId xmlns:a16="http://schemas.microsoft.com/office/drawing/2014/main" id="{97A278D2-A6A3-481A-9DA0-C17B15221838}"/>
                </a:ext>
              </a:extLst>
            </p:cNvPr>
            <p:cNvSpPr/>
            <p:nvPr/>
          </p:nvSpPr>
          <p:spPr bwMode="auto">
            <a:xfrm>
              <a:off x="4550632" y="3545500"/>
              <a:ext cx="87955" cy="135789"/>
            </a:xfrm>
            <a:custGeom>
              <a:avLst/>
              <a:gdLst>
                <a:gd name="T0" fmla="*/ 57 w 57"/>
                <a:gd name="T1" fmla="*/ 19 h 88"/>
                <a:gd name="T2" fmla="*/ 35 w 57"/>
                <a:gd name="T3" fmla="*/ 0 h 88"/>
                <a:gd name="T4" fmla="*/ 0 w 57"/>
                <a:gd name="T5" fmla="*/ 21 h 88"/>
                <a:gd name="T6" fmla="*/ 2 w 57"/>
                <a:gd name="T7" fmla="*/ 76 h 88"/>
                <a:gd name="T8" fmla="*/ 35 w 57"/>
                <a:gd name="T9" fmla="*/ 88 h 88"/>
                <a:gd name="T10" fmla="*/ 57 w 57"/>
                <a:gd name="T11" fmla="*/ 1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88">
                  <a:moveTo>
                    <a:pt x="57" y="19"/>
                  </a:moveTo>
                  <a:lnTo>
                    <a:pt x="35" y="0"/>
                  </a:lnTo>
                  <a:lnTo>
                    <a:pt x="0" y="21"/>
                  </a:lnTo>
                  <a:lnTo>
                    <a:pt x="2" y="76"/>
                  </a:lnTo>
                  <a:lnTo>
                    <a:pt x="35" y="88"/>
                  </a:lnTo>
                  <a:lnTo>
                    <a:pt x="57" y="19"/>
                  </a:ln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6" name="íşľíḍê">
              <a:extLst>
                <a:ext uri="{FF2B5EF4-FFF2-40B4-BE49-F238E27FC236}">
                  <a16:creationId xmlns:a16="http://schemas.microsoft.com/office/drawing/2014/main" id="{B3BE3126-5179-4B83-85DC-BCC0D84A2CFA}"/>
                </a:ext>
              </a:extLst>
            </p:cNvPr>
            <p:cNvSpPr/>
            <p:nvPr/>
          </p:nvSpPr>
          <p:spPr bwMode="auto">
            <a:xfrm>
              <a:off x="7477803" y="3705977"/>
              <a:ext cx="165107" cy="97213"/>
            </a:xfrm>
            <a:custGeom>
              <a:avLst/>
              <a:gdLst>
                <a:gd name="T0" fmla="*/ 76 w 98"/>
                <a:gd name="T1" fmla="*/ 0 h 58"/>
                <a:gd name="T2" fmla="*/ 51 w 98"/>
                <a:gd name="T3" fmla="*/ 5 h 58"/>
                <a:gd name="T4" fmla="*/ 4 w 98"/>
                <a:gd name="T5" fmla="*/ 50 h 58"/>
                <a:gd name="T6" fmla="*/ 47 w 98"/>
                <a:gd name="T7" fmla="*/ 57 h 58"/>
                <a:gd name="T8" fmla="*/ 73 w 98"/>
                <a:gd name="T9" fmla="*/ 39 h 58"/>
                <a:gd name="T10" fmla="*/ 87 w 98"/>
                <a:gd name="T11" fmla="*/ 44 h 58"/>
                <a:gd name="T12" fmla="*/ 98 w 98"/>
                <a:gd name="T13" fmla="*/ 29 h 58"/>
                <a:gd name="T14" fmla="*/ 76 w 98"/>
                <a:gd name="T15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" h="58">
                  <a:moveTo>
                    <a:pt x="76" y="0"/>
                  </a:moveTo>
                  <a:cubicBezTo>
                    <a:pt x="76" y="0"/>
                    <a:pt x="51" y="5"/>
                    <a:pt x="51" y="5"/>
                  </a:cubicBezTo>
                  <a:cubicBezTo>
                    <a:pt x="41" y="8"/>
                    <a:pt x="10" y="42"/>
                    <a:pt x="4" y="50"/>
                  </a:cubicBezTo>
                  <a:cubicBezTo>
                    <a:pt x="0" y="54"/>
                    <a:pt x="43" y="58"/>
                    <a:pt x="47" y="57"/>
                  </a:cubicBezTo>
                  <a:cubicBezTo>
                    <a:pt x="54" y="56"/>
                    <a:pt x="66" y="43"/>
                    <a:pt x="73" y="39"/>
                  </a:cubicBezTo>
                  <a:cubicBezTo>
                    <a:pt x="87" y="44"/>
                    <a:pt x="87" y="44"/>
                    <a:pt x="87" y="44"/>
                  </a:cubicBezTo>
                  <a:cubicBezTo>
                    <a:pt x="98" y="29"/>
                    <a:pt x="98" y="29"/>
                    <a:pt x="98" y="29"/>
                  </a:cubicBezTo>
                  <a:lnTo>
                    <a:pt x="76" y="0"/>
                  </a:ln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7" name="îSļíḍê">
              <a:extLst>
                <a:ext uri="{FF2B5EF4-FFF2-40B4-BE49-F238E27FC236}">
                  <a16:creationId xmlns:a16="http://schemas.microsoft.com/office/drawing/2014/main" id="{4C6AA1F1-BE54-4BA9-AA5F-5C5F6D4AD773}"/>
                </a:ext>
              </a:extLst>
            </p:cNvPr>
            <p:cNvSpPr/>
            <p:nvPr/>
          </p:nvSpPr>
          <p:spPr bwMode="auto">
            <a:xfrm>
              <a:off x="8514735" y="5238229"/>
              <a:ext cx="140418" cy="152763"/>
            </a:xfrm>
            <a:custGeom>
              <a:avLst/>
              <a:gdLst>
                <a:gd name="T0" fmla="*/ 87 w 91"/>
                <a:gd name="T1" fmla="*/ 30 h 99"/>
                <a:gd name="T2" fmla="*/ 91 w 91"/>
                <a:gd name="T3" fmla="*/ 61 h 99"/>
                <a:gd name="T4" fmla="*/ 34 w 91"/>
                <a:gd name="T5" fmla="*/ 99 h 99"/>
                <a:gd name="T6" fmla="*/ 0 w 91"/>
                <a:gd name="T7" fmla="*/ 73 h 99"/>
                <a:gd name="T8" fmla="*/ 26 w 91"/>
                <a:gd name="T9" fmla="*/ 38 h 99"/>
                <a:gd name="T10" fmla="*/ 84 w 91"/>
                <a:gd name="T11" fmla="*/ 0 h 99"/>
                <a:gd name="T12" fmla="*/ 87 w 91"/>
                <a:gd name="T13" fmla="*/ 3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99">
                  <a:moveTo>
                    <a:pt x="87" y="30"/>
                  </a:moveTo>
                  <a:lnTo>
                    <a:pt x="91" y="61"/>
                  </a:lnTo>
                  <a:lnTo>
                    <a:pt x="34" y="99"/>
                  </a:lnTo>
                  <a:lnTo>
                    <a:pt x="0" y="73"/>
                  </a:lnTo>
                  <a:lnTo>
                    <a:pt x="26" y="38"/>
                  </a:lnTo>
                  <a:lnTo>
                    <a:pt x="84" y="0"/>
                  </a:lnTo>
                  <a:lnTo>
                    <a:pt x="87" y="30"/>
                  </a:lnTo>
                  <a:close/>
                </a:path>
              </a:pathLst>
            </a:custGeom>
            <a:solidFill>
              <a:srgbClr val="202B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8" name="îṣļíḋé">
              <a:extLst>
                <a:ext uri="{FF2B5EF4-FFF2-40B4-BE49-F238E27FC236}">
                  <a16:creationId xmlns:a16="http://schemas.microsoft.com/office/drawing/2014/main" id="{265CC06B-EA64-4A26-9729-857305807DC2}"/>
                </a:ext>
              </a:extLst>
            </p:cNvPr>
            <p:cNvSpPr/>
            <p:nvPr/>
          </p:nvSpPr>
          <p:spPr bwMode="auto">
            <a:xfrm>
              <a:off x="8270932" y="3844852"/>
              <a:ext cx="395022" cy="1455099"/>
            </a:xfrm>
            <a:custGeom>
              <a:avLst/>
              <a:gdLst>
                <a:gd name="T0" fmla="*/ 247 w 256"/>
                <a:gd name="T1" fmla="*/ 924 h 943"/>
                <a:gd name="T2" fmla="*/ 202 w 256"/>
                <a:gd name="T3" fmla="*/ 536 h 943"/>
                <a:gd name="T4" fmla="*/ 256 w 256"/>
                <a:gd name="T5" fmla="*/ 102 h 943"/>
                <a:gd name="T6" fmla="*/ 244 w 256"/>
                <a:gd name="T7" fmla="*/ 10 h 943"/>
                <a:gd name="T8" fmla="*/ 8 w 256"/>
                <a:gd name="T9" fmla="*/ 0 h 943"/>
                <a:gd name="T10" fmla="*/ 0 w 256"/>
                <a:gd name="T11" fmla="*/ 151 h 943"/>
                <a:gd name="T12" fmla="*/ 39 w 256"/>
                <a:gd name="T13" fmla="*/ 537 h 943"/>
                <a:gd name="T14" fmla="*/ 188 w 256"/>
                <a:gd name="T15" fmla="*/ 943 h 943"/>
                <a:gd name="T16" fmla="*/ 247 w 256"/>
                <a:gd name="T17" fmla="*/ 924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6" h="943">
                  <a:moveTo>
                    <a:pt x="247" y="924"/>
                  </a:moveTo>
                  <a:lnTo>
                    <a:pt x="202" y="536"/>
                  </a:lnTo>
                  <a:lnTo>
                    <a:pt x="256" y="102"/>
                  </a:lnTo>
                  <a:lnTo>
                    <a:pt x="244" y="10"/>
                  </a:lnTo>
                  <a:lnTo>
                    <a:pt x="8" y="0"/>
                  </a:lnTo>
                  <a:lnTo>
                    <a:pt x="0" y="151"/>
                  </a:lnTo>
                  <a:lnTo>
                    <a:pt x="39" y="537"/>
                  </a:lnTo>
                  <a:lnTo>
                    <a:pt x="188" y="943"/>
                  </a:lnTo>
                  <a:lnTo>
                    <a:pt x="247" y="924"/>
                  </a:lnTo>
                  <a:close/>
                </a:path>
              </a:pathLst>
            </a:custGeom>
            <a:solidFill>
              <a:srgbClr val="353A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9" name="î$líḍe">
              <a:extLst>
                <a:ext uri="{FF2B5EF4-FFF2-40B4-BE49-F238E27FC236}">
                  <a16:creationId xmlns:a16="http://schemas.microsoft.com/office/drawing/2014/main" id="{BF573554-D388-46F3-99E3-F6472A9BC571}"/>
                </a:ext>
              </a:extLst>
            </p:cNvPr>
            <p:cNvSpPr/>
            <p:nvPr/>
          </p:nvSpPr>
          <p:spPr bwMode="auto">
            <a:xfrm>
              <a:off x="7590447" y="3198313"/>
              <a:ext cx="634195" cy="583274"/>
            </a:xfrm>
            <a:custGeom>
              <a:avLst/>
              <a:gdLst>
                <a:gd name="T0" fmla="*/ 411 w 411"/>
                <a:gd name="T1" fmla="*/ 0 h 378"/>
                <a:gd name="T2" fmla="*/ 305 w 411"/>
                <a:gd name="T3" fmla="*/ 62 h 378"/>
                <a:gd name="T4" fmla="*/ 239 w 411"/>
                <a:gd name="T5" fmla="*/ 179 h 378"/>
                <a:gd name="T6" fmla="*/ 0 w 411"/>
                <a:gd name="T7" fmla="*/ 323 h 378"/>
                <a:gd name="T8" fmla="*/ 35 w 411"/>
                <a:gd name="T9" fmla="*/ 378 h 378"/>
                <a:gd name="T10" fmla="*/ 241 w 411"/>
                <a:gd name="T11" fmla="*/ 310 h 378"/>
                <a:gd name="T12" fmla="*/ 346 w 411"/>
                <a:gd name="T13" fmla="*/ 256 h 378"/>
                <a:gd name="T14" fmla="*/ 411 w 411"/>
                <a:gd name="T15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1" h="378">
                  <a:moveTo>
                    <a:pt x="411" y="0"/>
                  </a:moveTo>
                  <a:lnTo>
                    <a:pt x="305" y="62"/>
                  </a:lnTo>
                  <a:lnTo>
                    <a:pt x="239" y="179"/>
                  </a:lnTo>
                  <a:lnTo>
                    <a:pt x="0" y="323"/>
                  </a:lnTo>
                  <a:lnTo>
                    <a:pt x="35" y="378"/>
                  </a:lnTo>
                  <a:lnTo>
                    <a:pt x="241" y="310"/>
                  </a:lnTo>
                  <a:lnTo>
                    <a:pt x="346" y="256"/>
                  </a:lnTo>
                  <a:lnTo>
                    <a:pt x="411" y="0"/>
                  </a:ln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0" name="ï$ḷidé">
              <a:extLst>
                <a:ext uri="{FF2B5EF4-FFF2-40B4-BE49-F238E27FC236}">
                  <a16:creationId xmlns:a16="http://schemas.microsoft.com/office/drawing/2014/main" id="{6353478F-6145-4B4D-B36C-82C56F0377B0}"/>
                </a:ext>
              </a:extLst>
            </p:cNvPr>
            <p:cNvSpPr/>
            <p:nvPr/>
          </p:nvSpPr>
          <p:spPr bwMode="auto">
            <a:xfrm>
              <a:off x="8016329" y="3855654"/>
              <a:ext cx="368790" cy="1438125"/>
            </a:xfrm>
            <a:custGeom>
              <a:avLst/>
              <a:gdLst>
                <a:gd name="T0" fmla="*/ 0 w 239"/>
                <a:gd name="T1" fmla="*/ 38 h 932"/>
                <a:gd name="T2" fmla="*/ 0 w 239"/>
                <a:gd name="T3" fmla="*/ 428 h 932"/>
                <a:gd name="T4" fmla="*/ 78 w 239"/>
                <a:gd name="T5" fmla="*/ 932 h 932"/>
                <a:gd name="T6" fmla="*/ 135 w 239"/>
                <a:gd name="T7" fmla="*/ 931 h 932"/>
                <a:gd name="T8" fmla="*/ 166 w 239"/>
                <a:gd name="T9" fmla="*/ 466 h 932"/>
                <a:gd name="T10" fmla="*/ 239 w 239"/>
                <a:gd name="T11" fmla="*/ 0 h 932"/>
                <a:gd name="T12" fmla="*/ 0 w 239"/>
                <a:gd name="T13" fmla="*/ 38 h 9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9" h="932">
                  <a:moveTo>
                    <a:pt x="0" y="38"/>
                  </a:moveTo>
                  <a:lnTo>
                    <a:pt x="0" y="428"/>
                  </a:lnTo>
                  <a:lnTo>
                    <a:pt x="78" y="932"/>
                  </a:lnTo>
                  <a:lnTo>
                    <a:pt x="135" y="931"/>
                  </a:lnTo>
                  <a:lnTo>
                    <a:pt x="166" y="466"/>
                  </a:lnTo>
                  <a:lnTo>
                    <a:pt x="239" y="0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353A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1" name="îṣľïḍé">
              <a:extLst>
                <a:ext uri="{FF2B5EF4-FFF2-40B4-BE49-F238E27FC236}">
                  <a16:creationId xmlns:a16="http://schemas.microsoft.com/office/drawing/2014/main" id="{526F3249-EDCD-4EF4-A868-D5F1220B431C}"/>
                </a:ext>
              </a:extLst>
            </p:cNvPr>
            <p:cNvSpPr/>
            <p:nvPr/>
          </p:nvSpPr>
          <p:spPr bwMode="auto">
            <a:xfrm>
              <a:off x="8082680" y="5281435"/>
              <a:ext cx="141961" cy="95669"/>
            </a:xfrm>
            <a:custGeom>
              <a:avLst/>
              <a:gdLst>
                <a:gd name="T0" fmla="*/ 92 w 92"/>
                <a:gd name="T1" fmla="*/ 30 h 62"/>
                <a:gd name="T2" fmla="*/ 30 w 92"/>
                <a:gd name="T3" fmla="*/ 62 h 62"/>
                <a:gd name="T4" fmla="*/ 0 w 92"/>
                <a:gd name="T5" fmla="*/ 32 h 62"/>
                <a:gd name="T6" fmla="*/ 30 w 92"/>
                <a:gd name="T7" fmla="*/ 1 h 62"/>
                <a:gd name="T8" fmla="*/ 91 w 92"/>
                <a:gd name="T9" fmla="*/ 0 h 62"/>
                <a:gd name="T10" fmla="*/ 92 w 92"/>
                <a:gd name="T11" fmla="*/ 3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62">
                  <a:moveTo>
                    <a:pt x="92" y="30"/>
                  </a:moveTo>
                  <a:lnTo>
                    <a:pt x="30" y="62"/>
                  </a:lnTo>
                  <a:lnTo>
                    <a:pt x="0" y="32"/>
                  </a:lnTo>
                  <a:lnTo>
                    <a:pt x="30" y="1"/>
                  </a:lnTo>
                  <a:lnTo>
                    <a:pt x="91" y="0"/>
                  </a:lnTo>
                  <a:lnTo>
                    <a:pt x="92" y="30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2" name="is1ïḋé">
              <a:extLst>
                <a:ext uri="{FF2B5EF4-FFF2-40B4-BE49-F238E27FC236}">
                  <a16:creationId xmlns:a16="http://schemas.microsoft.com/office/drawing/2014/main" id="{DCE6D944-0C9B-4243-A3B6-A446324C6682}"/>
                </a:ext>
              </a:extLst>
            </p:cNvPr>
            <p:cNvSpPr/>
            <p:nvPr/>
          </p:nvSpPr>
          <p:spPr bwMode="auto">
            <a:xfrm>
              <a:off x="7791043" y="3167452"/>
              <a:ext cx="915031" cy="1084767"/>
            </a:xfrm>
            <a:custGeom>
              <a:avLst/>
              <a:gdLst>
                <a:gd name="T0" fmla="*/ 545 w 546"/>
                <a:gd name="T1" fmla="*/ 568 h 648"/>
                <a:gd name="T2" fmla="*/ 543 w 546"/>
                <a:gd name="T3" fmla="*/ 535 h 648"/>
                <a:gd name="T4" fmla="*/ 533 w 546"/>
                <a:gd name="T5" fmla="*/ 409 h 648"/>
                <a:gd name="T6" fmla="*/ 516 w 546"/>
                <a:gd name="T7" fmla="*/ 242 h 648"/>
                <a:gd name="T8" fmla="*/ 479 w 546"/>
                <a:gd name="T9" fmla="*/ 107 h 648"/>
                <a:gd name="T10" fmla="*/ 311 w 546"/>
                <a:gd name="T11" fmla="*/ 9 h 648"/>
                <a:gd name="T12" fmla="*/ 181 w 546"/>
                <a:gd name="T13" fmla="*/ 85 h 648"/>
                <a:gd name="T14" fmla="*/ 175 w 546"/>
                <a:gd name="T15" fmla="*/ 123 h 648"/>
                <a:gd name="T16" fmla="*/ 168 w 546"/>
                <a:gd name="T17" fmla="*/ 161 h 648"/>
                <a:gd name="T18" fmla="*/ 161 w 546"/>
                <a:gd name="T19" fmla="*/ 190 h 648"/>
                <a:gd name="T20" fmla="*/ 161 w 546"/>
                <a:gd name="T21" fmla="*/ 190 h 648"/>
                <a:gd name="T22" fmla="*/ 89 w 546"/>
                <a:gd name="T23" fmla="*/ 430 h 648"/>
                <a:gd name="T24" fmla="*/ 100 w 546"/>
                <a:gd name="T25" fmla="*/ 567 h 648"/>
                <a:gd name="T26" fmla="*/ 154 w 546"/>
                <a:gd name="T27" fmla="*/ 581 h 648"/>
                <a:gd name="T28" fmla="*/ 277 w 546"/>
                <a:gd name="T29" fmla="*/ 573 h 648"/>
                <a:gd name="T30" fmla="*/ 392 w 546"/>
                <a:gd name="T31" fmla="*/ 583 h 648"/>
                <a:gd name="T32" fmla="*/ 466 w 546"/>
                <a:gd name="T33" fmla="*/ 606 h 648"/>
                <a:gd name="T34" fmla="*/ 526 w 546"/>
                <a:gd name="T35" fmla="*/ 645 h 648"/>
                <a:gd name="T36" fmla="*/ 533 w 546"/>
                <a:gd name="T37" fmla="*/ 647 h 648"/>
                <a:gd name="T38" fmla="*/ 545 w 546"/>
                <a:gd name="T39" fmla="*/ 568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6" h="648">
                  <a:moveTo>
                    <a:pt x="545" y="568"/>
                  </a:moveTo>
                  <a:cubicBezTo>
                    <a:pt x="544" y="553"/>
                    <a:pt x="543" y="540"/>
                    <a:pt x="543" y="535"/>
                  </a:cubicBezTo>
                  <a:cubicBezTo>
                    <a:pt x="542" y="493"/>
                    <a:pt x="538" y="451"/>
                    <a:pt x="533" y="409"/>
                  </a:cubicBezTo>
                  <a:cubicBezTo>
                    <a:pt x="528" y="372"/>
                    <a:pt x="522" y="280"/>
                    <a:pt x="516" y="242"/>
                  </a:cubicBezTo>
                  <a:cubicBezTo>
                    <a:pt x="511" y="212"/>
                    <a:pt x="492" y="135"/>
                    <a:pt x="479" y="107"/>
                  </a:cubicBezTo>
                  <a:cubicBezTo>
                    <a:pt x="446" y="36"/>
                    <a:pt x="456" y="30"/>
                    <a:pt x="311" y="9"/>
                  </a:cubicBezTo>
                  <a:cubicBezTo>
                    <a:pt x="248" y="0"/>
                    <a:pt x="233" y="39"/>
                    <a:pt x="181" y="85"/>
                  </a:cubicBezTo>
                  <a:cubicBezTo>
                    <a:pt x="176" y="89"/>
                    <a:pt x="176" y="116"/>
                    <a:pt x="175" y="123"/>
                  </a:cubicBezTo>
                  <a:cubicBezTo>
                    <a:pt x="173" y="136"/>
                    <a:pt x="170" y="148"/>
                    <a:pt x="168" y="161"/>
                  </a:cubicBezTo>
                  <a:cubicBezTo>
                    <a:pt x="166" y="170"/>
                    <a:pt x="164" y="180"/>
                    <a:pt x="161" y="190"/>
                  </a:cubicBezTo>
                  <a:cubicBezTo>
                    <a:pt x="161" y="190"/>
                    <a:pt x="161" y="190"/>
                    <a:pt x="161" y="190"/>
                  </a:cubicBezTo>
                  <a:cubicBezTo>
                    <a:pt x="161" y="190"/>
                    <a:pt x="117" y="388"/>
                    <a:pt x="89" y="430"/>
                  </a:cubicBezTo>
                  <a:cubicBezTo>
                    <a:pt x="60" y="472"/>
                    <a:pt x="0" y="531"/>
                    <a:pt x="100" y="567"/>
                  </a:cubicBezTo>
                  <a:cubicBezTo>
                    <a:pt x="118" y="573"/>
                    <a:pt x="135" y="578"/>
                    <a:pt x="154" y="581"/>
                  </a:cubicBezTo>
                  <a:cubicBezTo>
                    <a:pt x="154" y="581"/>
                    <a:pt x="235" y="572"/>
                    <a:pt x="277" y="573"/>
                  </a:cubicBezTo>
                  <a:cubicBezTo>
                    <a:pt x="316" y="573"/>
                    <a:pt x="355" y="577"/>
                    <a:pt x="392" y="583"/>
                  </a:cubicBezTo>
                  <a:cubicBezTo>
                    <a:pt x="418" y="588"/>
                    <a:pt x="444" y="594"/>
                    <a:pt x="466" y="606"/>
                  </a:cubicBezTo>
                  <a:cubicBezTo>
                    <a:pt x="488" y="617"/>
                    <a:pt x="504" y="634"/>
                    <a:pt x="526" y="645"/>
                  </a:cubicBezTo>
                  <a:cubicBezTo>
                    <a:pt x="528" y="646"/>
                    <a:pt x="530" y="648"/>
                    <a:pt x="533" y="647"/>
                  </a:cubicBezTo>
                  <a:cubicBezTo>
                    <a:pt x="545" y="646"/>
                    <a:pt x="546" y="601"/>
                    <a:pt x="545" y="568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3" name="ïṩḷíḍê">
              <a:extLst>
                <a:ext uri="{FF2B5EF4-FFF2-40B4-BE49-F238E27FC236}">
                  <a16:creationId xmlns:a16="http://schemas.microsoft.com/office/drawing/2014/main" id="{62925D18-028D-4092-9C38-232B4758AAAB}"/>
                </a:ext>
              </a:extLst>
            </p:cNvPr>
            <p:cNvSpPr/>
            <p:nvPr/>
          </p:nvSpPr>
          <p:spPr bwMode="auto">
            <a:xfrm>
              <a:off x="8226184" y="2900504"/>
              <a:ext cx="236088" cy="307068"/>
            </a:xfrm>
            <a:custGeom>
              <a:avLst/>
              <a:gdLst>
                <a:gd name="T0" fmla="*/ 57 w 141"/>
                <a:gd name="T1" fmla="*/ 177 h 184"/>
                <a:gd name="T2" fmla="*/ 99 w 141"/>
                <a:gd name="T3" fmla="*/ 178 h 184"/>
                <a:gd name="T4" fmla="*/ 106 w 141"/>
                <a:gd name="T5" fmla="*/ 170 h 184"/>
                <a:gd name="T6" fmla="*/ 106 w 141"/>
                <a:gd name="T7" fmla="*/ 137 h 184"/>
                <a:gd name="T8" fmla="*/ 139 w 141"/>
                <a:gd name="T9" fmla="*/ 113 h 184"/>
                <a:gd name="T10" fmla="*/ 140 w 141"/>
                <a:gd name="T11" fmla="*/ 100 h 184"/>
                <a:gd name="T12" fmla="*/ 135 w 141"/>
                <a:gd name="T13" fmla="*/ 44 h 184"/>
                <a:gd name="T14" fmla="*/ 130 w 141"/>
                <a:gd name="T15" fmla="*/ 25 h 184"/>
                <a:gd name="T16" fmla="*/ 103 w 141"/>
                <a:gd name="T17" fmla="*/ 8 h 184"/>
                <a:gd name="T18" fmla="*/ 20 w 141"/>
                <a:gd name="T19" fmla="*/ 21 h 184"/>
                <a:gd name="T20" fmla="*/ 5 w 141"/>
                <a:gd name="T21" fmla="*/ 38 h 184"/>
                <a:gd name="T22" fmla="*/ 4 w 141"/>
                <a:gd name="T23" fmla="*/ 73 h 184"/>
                <a:gd name="T24" fmla="*/ 10 w 141"/>
                <a:gd name="T25" fmla="*/ 105 h 184"/>
                <a:gd name="T26" fmla="*/ 27 w 141"/>
                <a:gd name="T27" fmla="*/ 137 h 184"/>
                <a:gd name="T28" fmla="*/ 46 w 141"/>
                <a:gd name="T29" fmla="*/ 144 h 184"/>
                <a:gd name="T30" fmla="*/ 57 w 141"/>
                <a:gd name="T31" fmla="*/ 17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1" h="184">
                  <a:moveTo>
                    <a:pt x="57" y="177"/>
                  </a:moveTo>
                  <a:cubicBezTo>
                    <a:pt x="64" y="181"/>
                    <a:pt x="81" y="184"/>
                    <a:pt x="99" y="178"/>
                  </a:cubicBezTo>
                  <a:cubicBezTo>
                    <a:pt x="103" y="177"/>
                    <a:pt x="106" y="174"/>
                    <a:pt x="106" y="170"/>
                  </a:cubicBezTo>
                  <a:cubicBezTo>
                    <a:pt x="107" y="159"/>
                    <a:pt x="107" y="148"/>
                    <a:pt x="106" y="137"/>
                  </a:cubicBezTo>
                  <a:cubicBezTo>
                    <a:pt x="120" y="133"/>
                    <a:pt x="136" y="127"/>
                    <a:pt x="139" y="113"/>
                  </a:cubicBezTo>
                  <a:cubicBezTo>
                    <a:pt x="141" y="109"/>
                    <a:pt x="140" y="104"/>
                    <a:pt x="140" y="100"/>
                  </a:cubicBezTo>
                  <a:cubicBezTo>
                    <a:pt x="138" y="81"/>
                    <a:pt x="136" y="63"/>
                    <a:pt x="135" y="44"/>
                  </a:cubicBezTo>
                  <a:cubicBezTo>
                    <a:pt x="134" y="38"/>
                    <a:pt x="133" y="31"/>
                    <a:pt x="130" y="25"/>
                  </a:cubicBezTo>
                  <a:cubicBezTo>
                    <a:pt x="125" y="15"/>
                    <a:pt x="114" y="10"/>
                    <a:pt x="103" y="8"/>
                  </a:cubicBezTo>
                  <a:cubicBezTo>
                    <a:pt x="75" y="0"/>
                    <a:pt x="43" y="4"/>
                    <a:pt x="20" y="21"/>
                  </a:cubicBezTo>
                  <a:cubicBezTo>
                    <a:pt x="14" y="25"/>
                    <a:pt x="8" y="31"/>
                    <a:pt x="5" y="38"/>
                  </a:cubicBezTo>
                  <a:cubicBezTo>
                    <a:pt x="0" y="49"/>
                    <a:pt x="2" y="61"/>
                    <a:pt x="4" y="73"/>
                  </a:cubicBezTo>
                  <a:cubicBezTo>
                    <a:pt x="6" y="84"/>
                    <a:pt x="8" y="94"/>
                    <a:pt x="10" y="105"/>
                  </a:cubicBezTo>
                  <a:cubicBezTo>
                    <a:pt x="12" y="118"/>
                    <a:pt x="15" y="132"/>
                    <a:pt x="27" y="137"/>
                  </a:cubicBezTo>
                  <a:cubicBezTo>
                    <a:pt x="33" y="140"/>
                    <a:pt x="40" y="140"/>
                    <a:pt x="46" y="144"/>
                  </a:cubicBezTo>
                  <a:cubicBezTo>
                    <a:pt x="55" y="151"/>
                    <a:pt x="52" y="166"/>
                    <a:pt x="57" y="177"/>
                  </a:cubicBez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4" name="îṣ1ïḑê">
              <a:extLst>
                <a:ext uri="{FF2B5EF4-FFF2-40B4-BE49-F238E27FC236}">
                  <a16:creationId xmlns:a16="http://schemas.microsoft.com/office/drawing/2014/main" id="{233AA54A-69DB-4CE0-8A9E-4ED92E7F09F0}"/>
                </a:ext>
              </a:extLst>
            </p:cNvPr>
            <p:cNvSpPr/>
            <p:nvPr/>
          </p:nvSpPr>
          <p:spPr bwMode="auto">
            <a:xfrm>
              <a:off x="8014786" y="2719967"/>
              <a:ext cx="567844" cy="387307"/>
            </a:xfrm>
            <a:custGeom>
              <a:avLst/>
              <a:gdLst>
                <a:gd name="T0" fmla="*/ 34 w 340"/>
                <a:gd name="T1" fmla="*/ 89 h 232"/>
                <a:gd name="T2" fmla="*/ 26 w 340"/>
                <a:gd name="T3" fmla="*/ 75 h 232"/>
                <a:gd name="T4" fmla="*/ 6 w 340"/>
                <a:gd name="T5" fmla="*/ 47 h 232"/>
                <a:gd name="T6" fmla="*/ 8 w 340"/>
                <a:gd name="T7" fmla="*/ 14 h 232"/>
                <a:gd name="T8" fmla="*/ 28 w 340"/>
                <a:gd name="T9" fmla="*/ 5 h 232"/>
                <a:gd name="T10" fmla="*/ 101 w 340"/>
                <a:gd name="T11" fmla="*/ 9 h 232"/>
                <a:gd name="T12" fmla="*/ 166 w 340"/>
                <a:gd name="T13" fmla="*/ 21 h 232"/>
                <a:gd name="T14" fmla="*/ 225 w 340"/>
                <a:gd name="T15" fmla="*/ 29 h 232"/>
                <a:gd name="T16" fmla="*/ 302 w 340"/>
                <a:gd name="T17" fmla="*/ 58 h 232"/>
                <a:gd name="T18" fmla="*/ 323 w 340"/>
                <a:gd name="T19" fmla="*/ 82 h 232"/>
                <a:gd name="T20" fmla="*/ 315 w 340"/>
                <a:gd name="T21" fmla="*/ 185 h 232"/>
                <a:gd name="T22" fmla="*/ 298 w 340"/>
                <a:gd name="T23" fmla="*/ 203 h 232"/>
                <a:gd name="T24" fmla="*/ 255 w 340"/>
                <a:gd name="T25" fmla="*/ 232 h 232"/>
                <a:gd name="T26" fmla="*/ 262 w 340"/>
                <a:gd name="T27" fmla="*/ 162 h 232"/>
                <a:gd name="T28" fmla="*/ 185 w 340"/>
                <a:gd name="T29" fmla="*/ 149 h 232"/>
                <a:gd name="T30" fmla="*/ 116 w 340"/>
                <a:gd name="T31" fmla="*/ 168 h 232"/>
                <a:gd name="T32" fmla="*/ 65 w 340"/>
                <a:gd name="T33" fmla="*/ 150 h 232"/>
                <a:gd name="T34" fmla="*/ 34 w 340"/>
                <a:gd name="T35" fmla="*/ 8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0" h="232">
                  <a:moveTo>
                    <a:pt x="34" y="89"/>
                  </a:moveTo>
                  <a:cubicBezTo>
                    <a:pt x="32" y="84"/>
                    <a:pt x="29" y="80"/>
                    <a:pt x="26" y="75"/>
                  </a:cubicBezTo>
                  <a:cubicBezTo>
                    <a:pt x="20" y="66"/>
                    <a:pt x="11" y="57"/>
                    <a:pt x="6" y="47"/>
                  </a:cubicBezTo>
                  <a:cubicBezTo>
                    <a:pt x="1" y="36"/>
                    <a:pt x="0" y="23"/>
                    <a:pt x="8" y="14"/>
                  </a:cubicBezTo>
                  <a:cubicBezTo>
                    <a:pt x="13" y="9"/>
                    <a:pt x="21" y="6"/>
                    <a:pt x="28" y="5"/>
                  </a:cubicBezTo>
                  <a:cubicBezTo>
                    <a:pt x="52" y="0"/>
                    <a:pt x="78" y="1"/>
                    <a:pt x="101" y="9"/>
                  </a:cubicBezTo>
                  <a:cubicBezTo>
                    <a:pt x="123" y="17"/>
                    <a:pt x="143" y="28"/>
                    <a:pt x="166" y="21"/>
                  </a:cubicBezTo>
                  <a:cubicBezTo>
                    <a:pt x="188" y="15"/>
                    <a:pt x="203" y="19"/>
                    <a:pt x="225" y="29"/>
                  </a:cubicBezTo>
                  <a:cubicBezTo>
                    <a:pt x="249" y="40"/>
                    <a:pt x="281" y="44"/>
                    <a:pt x="302" y="58"/>
                  </a:cubicBezTo>
                  <a:cubicBezTo>
                    <a:pt x="311" y="64"/>
                    <a:pt x="318" y="73"/>
                    <a:pt x="323" y="82"/>
                  </a:cubicBezTo>
                  <a:cubicBezTo>
                    <a:pt x="340" y="114"/>
                    <a:pt x="337" y="156"/>
                    <a:pt x="315" y="185"/>
                  </a:cubicBezTo>
                  <a:cubicBezTo>
                    <a:pt x="310" y="192"/>
                    <a:pt x="304" y="197"/>
                    <a:pt x="298" y="203"/>
                  </a:cubicBezTo>
                  <a:cubicBezTo>
                    <a:pt x="286" y="214"/>
                    <a:pt x="271" y="229"/>
                    <a:pt x="255" y="232"/>
                  </a:cubicBezTo>
                  <a:cubicBezTo>
                    <a:pt x="255" y="218"/>
                    <a:pt x="272" y="175"/>
                    <a:pt x="262" y="162"/>
                  </a:cubicBezTo>
                  <a:cubicBezTo>
                    <a:pt x="246" y="143"/>
                    <a:pt x="207" y="146"/>
                    <a:pt x="185" y="149"/>
                  </a:cubicBezTo>
                  <a:cubicBezTo>
                    <a:pt x="161" y="152"/>
                    <a:pt x="139" y="167"/>
                    <a:pt x="116" y="168"/>
                  </a:cubicBezTo>
                  <a:cubicBezTo>
                    <a:pt x="99" y="169"/>
                    <a:pt x="79" y="160"/>
                    <a:pt x="65" y="150"/>
                  </a:cubicBezTo>
                  <a:cubicBezTo>
                    <a:pt x="49" y="138"/>
                    <a:pt x="43" y="107"/>
                    <a:pt x="34" y="89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5" name="isľiḑe">
              <a:extLst>
                <a:ext uri="{FF2B5EF4-FFF2-40B4-BE49-F238E27FC236}">
                  <a16:creationId xmlns:a16="http://schemas.microsoft.com/office/drawing/2014/main" id="{945BA5C5-EB61-441A-9BD0-A7C3307C259A}"/>
                </a:ext>
              </a:extLst>
            </p:cNvPr>
            <p:cNvSpPr/>
            <p:nvPr/>
          </p:nvSpPr>
          <p:spPr bwMode="auto">
            <a:xfrm>
              <a:off x="8507020" y="2889703"/>
              <a:ext cx="347187" cy="623393"/>
            </a:xfrm>
            <a:custGeom>
              <a:avLst/>
              <a:gdLst>
                <a:gd name="T0" fmla="*/ 0 w 225"/>
                <a:gd name="T1" fmla="*/ 218 h 404"/>
                <a:gd name="T2" fmla="*/ 111 w 225"/>
                <a:gd name="T3" fmla="*/ 246 h 404"/>
                <a:gd name="T4" fmla="*/ 26 w 225"/>
                <a:gd name="T5" fmla="*/ 67 h 404"/>
                <a:gd name="T6" fmla="*/ 57 w 225"/>
                <a:gd name="T7" fmla="*/ 0 h 404"/>
                <a:gd name="T8" fmla="*/ 225 w 225"/>
                <a:gd name="T9" fmla="*/ 265 h 404"/>
                <a:gd name="T10" fmla="*/ 205 w 225"/>
                <a:gd name="T11" fmla="*/ 368 h 404"/>
                <a:gd name="T12" fmla="*/ 2 w 225"/>
                <a:gd name="T13" fmla="*/ 404 h 404"/>
                <a:gd name="T14" fmla="*/ 0 w 225"/>
                <a:gd name="T15" fmla="*/ 21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5" h="404">
                  <a:moveTo>
                    <a:pt x="0" y="218"/>
                  </a:moveTo>
                  <a:lnTo>
                    <a:pt x="111" y="246"/>
                  </a:lnTo>
                  <a:lnTo>
                    <a:pt x="26" y="67"/>
                  </a:lnTo>
                  <a:lnTo>
                    <a:pt x="57" y="0"/>
                  </a:lnTo>
                  <a:lnTo>
                    <a:pt x="225" y="265"/>
                  </a:lnTo>
                  <a:lnTo>
                    <a:pt x="205" y="368"/>
                  </a:lnTo>
                  <a:lnTo>
                    <a:pt x="2" y="404"/>
                  </a:lnTo>
                  <a:lnTo>
                    <a:pt x="0" y="218"/>
                  </a:ln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6" name="iṩ1ïḑê">
              <a:extLst>
                <a:ext uri="{FF2B5EF4-FFF2-40B4-BE49-F238E27FC236}">
                  <a16:creationId xmlns:a16="http://schemas.microsoft.com/office/drawing/2014/main" id="{934EB824-37BB-4A2D-A297-C1A5D25949CA}"/>
                </a:ext>
              </a:extLst>
            </p:cNvPr>
            <p:cNvSpPr/>
            <p:nvPr/>
          </p:nvSpPr>
          <p:spPr bwMode="auto">
            <a:xfrm>
              <a:off x="8490046" y="2803292"/>
              <a:ext cx="104928" cy="172822"/>
            </a:xfrm>
            <a:custGeom>
              <a:avLst/>
              <a:gdLst>
                <a:gd name="T0" fmla="*/ 60 w 63"/>
                <a:gd name="T1" fmla="*/ 68 h 103"/>
                <a:gd name="T2" fmla="*/ 39 w 63"/>
                <a:gd name="T3" fmla="*/ 13 h 103"/>
                <a:gd name="T4" fmla="*/ 25 w 63"/>
                <a:gd name="T5" fmla="*/ 1 h 103"/>
                <a:gd name="T6" fmla="*/ 13 w 63"/>
                <a:gd name="T7" fmla="*/ 18 h 103"/>
                <a:gd name="T8" fmla="*/ 16 w 63"/>
                <a:gd name="T9" fmla="*/ 59 h 103"/>
                <a:gd name="T10" fmla="*/ 7 w 63"/>
                <a:gd name="T11" fmla="*/ 58 h 103"/>
                <a:gd name="T12" fmla="*/ 5 w 63"/>
                <a:gd name="T13" fmla="*/ 61 h 103"/>
                <a:gd name="T14" fmla="*/ 36 w 63"/>
                <a:gd name="T15" fmla="*/ 103 h 103"/>
                <a:gd name="T16" fmla="*/ 63 w 63"/>
                <a:gd name="T17" fmla="*/ 67 h 103"/>
                <a:gd name="T18" fmla="*/ 60 w 63"/>
                <a:gd name="T19" fmla="*/ 6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103">
                  <a:moveTo>
                    <a:pt x="60" y="68"/>
                  </a:moveTo>
                  <a:cubicBezTo>
                    <a:pt x="55" y="49"/>
                    <a:pt x="48" y="30"/>
                    <a:pt x="39" y="13"/>
                  </a:cubicBezTo>
                  <a:cubicBezTo>
                    <a:pt x="36" y="7"/>
                    <a:pt x="31" y="0"/>
                    <a:pt x="25" y="1"/>
                  </a:cubicBezTo>
                  <a:cubicBezTo>
                    <a:pt x="17" y="1"/>
                    <a:pt x="14" y="10"/>
                    <a:pt x="13" y="18"/>
                  </a:cubicBezTo>
                  <a:cubicBezTo>
                    <a:pt x="11" y="31"/>
                    <a:pt x="12" y="46"/>
                    <a:pt x="16" y="59"/>
                  </a:cubicBezTo>
                  <a:cubicBezTo>
                    <a:pt x="15" y="62"/>
                    <a:pt x="11" y="57"/>
                    <a:pt x="7" y="58"/>
                  </a:cubicBezTo>
                  <a:cubicBezTo>
                    <a:pt x="6" y="58"/>
                    <a:pt x="5" y="60"/>
                    <a:pt x="5" y="61"/>
                  </a:cubicBezTo>
                  <a:cubicBezTo>
                    <a:pt x="0" y="80"/>
                    <a:pt x="24" y="94"/>
                    <a:pt x="36" y="103"/>
                  </a:cubicBezTo>
                  <a:cubicBezTo>
                    <a:pt x="46" y="91"/>
                    <a:pt x="49" y="77"/>
                    <a:pt x="63" y="67"/>
                  </a:cubicBezTo>
                  <a:lnTo>
                    <a:pt x="60" y="68"/>
                  </a:ln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7" name="íṣlïḋe">
              <a:extLst>
                <a:ext uri="{FF2B5EF4-FFF2-40B4-BE49-F238E27FC236}">
                  <a16:creationId xmlns:a16="http://schemas.microsoft.com/office/drawing/2014/main" id="{51910651-C86A-4CD1-A2D8-1AB25E0EEADB}"/>
                </a:ext>
              </a:extLst>
            </p:cNvPr>
            <p:cNvSpPr/>
            <p:nvPr/>
          </p:nvSpPr>
          <p:spPr bwMode="auto">
            <a:xfrm>
              <a:off x="6652270" y="3797018"/>
              <a:ext cx="527724" cy="524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8" name="îṣḻîḑê">
              <a:extLst>
                <a:ext uri="{FF2B5EF4-FFF2-40B4-BE49-F238E27FC236}">
                  <a16:creationId xmlns:a16="http://schemas.microsoft.com/office/drawing/2014/main" id="{23A201E9-968F-4F7F-9B53-7DD4AA0375AF}"/>
                </a:ext>
              </a:extLst>
            </p:cNvPr>
            <p:cNvSpPr/>
            <p:nvPr/>
          </p:nvSpPr>
          <p:spPr bwMode="auto">
            <a:xfrm>
              <a:off x="6644555" y="3786216"/>
              <a:ext cx="544698" cy="544698"/>
            </a:xfrm>
            <a:custGeom>
              <a:avLst/>
              <a:gdLst>
                <a:gd name="T0" fmla="*/ 353 w 353"/>
                <a:gd name="T1" fmla="*/ 353 h 353"/>
                <a:gd name="T2" fmla="*/ 0 w 353"/>
                <a:gd name="T3" fmla="*/ 353 h 353"/>
                <a:gd name="T4" fmla="*/ 0 w 353"/>
                <a:gd name="T5" fmla="*/ 0 h 353"/>
                <a:gd name="T6" fmla="*/ 353 w 353"/>
                <a:gd name="T7" fmla="*/ 0 h 353"/>
                <a:gd name="T8" fmla="*/ 353 w 353"/>
                <a:gd name="T9" fmla="*/ 353 h 353"/>
                <a:gd name="T10" fmla="*/ 12 w 353"/>
                <a:gd name="T11" fmla="*/ 341 h 353"/>
                <a:gd name="T12" fmla="*/ 341 w 353"/>
                <a:gd name="T13" fmla="*/ 341 h 353"/>
                <a:gd name="T14" fmla="*/ 341 w 353"/>
                <a:gd name="T15" fmla="*/ 12 h 353"/>
                <a:gd name="T16" fmla="*/ 12 w 353"/>
                <a:gd name="T17" fmla="*/ 12 h 353"/>
                <a:gd name="T18" fmla="*/ 12 w 353"/>
                <a:gd name="T19" fmla="*/ 3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3" h="353">
                  <a:moveTo>
                    <a:pt x="353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3" y="0"/>
                  </a:lnTo>
                  <a:lnTo>
                    <a:pt x="353" y="353"/>
                  </a:lnTo>
                  <a:close/>
                  <a:moveTo>
                    <a:pt x="12" y="341"/>
                  </a:moveTo>
                  <a:lnTo>
                    <a:pt x="341" y="341"/>
                  </a:lnTo>
                  <a:lnTo>
                    <a:pt x="341" y="12"/>
                  </a:lnTo>
                  <a:lnTo>
                    <a:pt x="12" y="12"/>
                  </a:lnTo>
                  <a:lnTo>
                    <a:pt x="12" y="341"/>
                  </a:lnTo>
                  <a:close/>
                </a:path>
              </a:pathLst>
            </a:custGeom>
            <a:solidFill>
              <a:srgbClr val="D670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9" name="íŝḷïḑè">
              <a:extLst>
                <a:ext uri="{FF2B5EF4-FFF2-40B4-BE49-F238E27FC236}">
                  <a16:creationId xmlns:a16="http://schemas.microsoft.com/office/drawing/2014/main" id="{4FC9E127-AD6D-43E1-9F88-D6015571E0DB}"/>
                </a:ext>
              </a:extLst>
            </p:cNvPr>
            <p:cNvSpPr/>
            <p:nvPr/>
          </p:nvSpPr>
          <p:spPr bwMode="auto">
            <a:xfrm>
              <a:off x="7179994" y="3797018"/>
              <a:ext cx="526182" cy="524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0" name="îš1íḓè">
              <a:extLst>
                <a:ext uri="{FF2B5EF4-FFF2-40B4-BE49-F238E27FC236}">
                  <a16:creationId xmlns:a16="http://schemas.microsoft.com/office/drawing/2014/main" id="{3E7E6B1C-1036-4AD9-9C58-E3D5E710D458}"/>
                </a:ext>
              </a:extLst>
            </p:cNvPr>
            <p:cNvSpPr/>
            <p:nvPr/>
          </p:nvSpPr>
          <p:spPr bwMode="auto">
            <a:xfrm>
              <a:off x="7170736" y="3786216"/>
              <a:ext cx="543155" cy="544698"/>
            </a:xfrm>
            <a:custGeom>
              <a:avLst/>
              <a:gdLst>
                <a:gd name="T0" fmla="*/ 352 w 352"/>
                <a:gd name="T1" fmla="*/ 353 h 353"/>
                <a:gd name="T2" fmla="*/ 0 w 352"/>
                <a:gd name="T3" fmla="*/ 353 h 353"/>
                <a:gd name="T4" fmla="*/ 0 w 352"/>
                <a:gd name="T5" fmla="*/ 0 h 353"/>
                <a:gd name="T6" fmla="*/ 352 w 352"/>
                <a:gd name="T7" fmla="*/ 0 h 353"/>
                <a:gd name="T8" fmla="*/ 352 w 352"/>
                <a:gd name="T9" fmla="*/ 353 h 353"/>
                <a:gd name="T10" fmla="*/ 12 w 352"/>
                <a:gd name="T11" fmla="*/ 341 h 353"/>
                <a:gd name="T12" fmla="*/ 340 w 352"/>
                <a:gd name="T13" fmla="*/ 341 h 353"/>
                <a:gd name="T14" fmla="*/ 340 w 352"/>
                <a:gd name="T15" fmla="*/ 12 h 353"/>
                <a:gd name="T16" fmla="*/ 12 w 352"/>
                <a:gd name="T17" fmla="*/ 12 h 353"/>
                <a:gd name="T18" fmla="*/ 12 w 352"/>
                <a:gd name="T19" fmla="*/ 3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2" h="353">
                  <a:moveTo>
                    <a:pt x="352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2" y="0"/>
                  </a:lnTo>
                  <a:lnTo>
                    <a:pt x="352" y="353"/>
                  </a:lnTo>
                  <a:close/>
                  <a:moveTo>
                    <a:pt x="12" y="341"/>
                  </a:moveTo>
                  <a:lnTo>
                    <a:pt x="340" y="341"/>
                  </a:lnTo>
                  <a:lnTo>
                    <a:pt x="340" y="12"/>
                  </a:lnTo>
                  <a:lnTo>
                    <a:pt x="12" y="12"/>
                  </a:lnTo>
                  <a:lnTo>
                    <a:pt x="12" y="341"/>
                  </a:lnTo>
                  <a:close/>
                </a:path>
              </a:pathLst>
            </a:custGeom>
            <a:solidFill>
              <a:srgbClr val="D670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1" name="iSļïḓê">
              <a:extLst>
                <a:ext uri="{FF2B5EF4-FFF2-40B4-BE49-F238E27FC236}">
                  <a16:creationId xmlns:a16="http://schemas.microsoft.com/office/drawing/2014/main" id="{11897F04-76B9-4A85-B972-3980F8ECF3F8}"/>
                </a:ext>
              </a:extLst>
            </p:cNvPr>
            <p:cNvSpPr/>
            <p:nvPr/>
          </p:nvSpPr>
          <p:spPr bwMode="auto">
            <a:xfrm>
              <a:off x="7706175" y="3797018"/>
              <a:ext cx="526182" cy="524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2" name="îşḻiḓê">
              <a:extLst>
                <a:ext uri="{FF2B5EF4-FFF2-40B4-BE49-F238E27FC236}">
                  <a16:creationId xmlns:a16="http://schemas.microsoft.com/office/drawing/2014/main" id="{9774922F-E980-48D2-87BB-5D9639018BD1}"/>
                </a:ext>
              </a:extLst>
            </p:cNvPr>
            <p:cNvSpPr/>
            <p:nvPr/>
          </p:nvSpPr>
          <p:spPr bwMode="auto">
            <a:xfrm>
              <a:off x="7695374" y="3786216"/>
              <a:ext cx="546241" cy="544698"/>
            </a:xfrm>
            <a:custGeom>
              <a:avLst/>
              <a:gdLst>
                <a:gd name="T0" fmla="*/ 354 w 354"/>
                <a:gd name="T1" fmla="*/ 353 h 353"/>
                <a:gd name="T2" fmla="*/ 0 w 354"/>
                <a:gd name="T3" fmla="*/ 353 h 353"/>
                <a:gd name="T4" fmla="*/ 0 w 354"/>
                <a:gd name="T5" fmla="*/ 0 h 353"/>
                <a:gd name="T6" fmla="*/ 354 w 354"/>
                <a:gd name="T7" fmla="*/ 0 h 353"/>
                <a:gd name="T8" fmla="*/ 354 w 354"/>
                <a:gd name="T9" fmla="*/ 353 h 353"/>
                <a:gd name="T10" fmla="*/ 12 w 354"/>
                <a:gd name="T11" fmla="*/ 341 h 353"/>
                <a:gd name="T12" fmla="*/ 342 w 354"/>
                <a:gd name="T13" fmla="*/ 341 h 353"/>
                <a:gd name="T14" fmla="*/ 342 w 354"/>
                <a:gd name="T15" fmla="*/ 12 h 353"/>
                <a:gd name="T16" fmla="*/ 12 w 354"/>
                <a:gd name="T17" fmla="*/ 12 h 353"/>
                <a:gd name="T18" fmla="*/ 12 w 354"/>
                <a:gd name="T19" fmla="*/ 3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" h="353">
                  <a:moveTo>
                    <a:pt x="354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4" y="0"/>
                  </a:lnTo>
                  <a:lnTo>
                    <a:pt x="354" y="353"/>
                  </a:lnTo>
                  <a:close/>
                  <a:moveTo>
                    <a:pt x="12" y="341"/>
                  </a:moveTo>
                  <a:lnTo>
                    <a:pt x="342" y="341"/>
                  </a:lnTo>
                  <a:lnTo>
                    <a:pt x="342" y="12"/>
                  </a:lnTo>
                  <a:lnTo>
                    <a:pt x="12" y="12"/>
                  </a:lnTo>
                  <a:lnTo>
                    <a:pt x="12" y="341"/>
                  </a:lnTo>
                  <a:close/>
                </a:path>
              </a:pathLst>
            </a:custGeom>
            <a:solidFill>
              <a:srgbClr val="D670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3" name="îṣľïḋê">
              <a:extLst>
                <a:ext uri="{FF2B5EF4-FFF2-40B4-BE49-F238E27FC236}">
                  <a16:creationId xmlns:a16="http://schemas.microsoft.com/office/drawing/2014/main" id="{07154FC4-A900-4537-9E30-33442AD14EB1}"/>
                </a:ext>
              </a:extLst>
            </p:cNvPr>
            <p:cNvSpPr/>
            <p:nvPr/>
          </p:nvSpPr>
          <p:spPr bwMode="auto">
            <a:xfrm>
              <a:off x="6652270" y="4321656"/>
              <a:ext cx="527724" cy="524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4" name="iṥļîḓê">
              <a:extLst>
                <a:ext uri="{FF2B5EF4-FFF2-40B4-BE49-F238E27FC236}">
                  <a16:creationId xmlns:a16="http://schemas.microsoft.com/office/drawing/2014/main" id="{41E9D771-D807-4FFF-9DCD-3A342FB9C51C}"/>
                </a:ext>
              </a:extLst>
            </p:cNvPr>
            <p:cNvSpPr/>
            <p:nvPr/>
          </p:nvSpPr>
          <p:spPr bwMode="auto">
            <a:xfrm>
              <a:off x="6644555" y="4312398"/>
              <a:ext cx="544698" cy="544698"/>
            </a:xfrm>
            <a:custGeom>
              <a:avLst/>
              <a:gdLst>
                <a:gd name="T0" fmla="*/ 353 w 353"/>
                <a:gd name="T1" fmla="*/ 353 h 353"/>
                <a:gd name="T2" fmla="*/ 0 w 353"/>
                <a:gd name="T3" fmla="*/ 353 h 353"/>
                <a:gd name="T4" fmla="*/ 0 w 353"/>
                <a:gd name="T5" fmla="*/ 0 h 353"/>
                <a:gd name="T6" fmla="*/ 353 w 353"/>
                <a:gd name="T7" fmla="*/ 0 h 353"/>
                <a:gd name="T8" fmla="*/ 353 w 353"/>
                <a:gd name="T9" fmla="*/ 353 h 353"/>
                <a:gd name="T10" fmla="*/ 12 w 353"/>
                <a:gd name="T11" fmla="*/ 340 h 353"/>
                <a:gd name="T12" fmla="*/ 341 w 353"/>
                <a:gd name="T13" fmla="*/ 340 h 353"/>
                <a:gd name="T14" fmla="*/ 341 w 353"/>
                <a:gd name="T15" fmla="*/ 12 h 353"/>
                <a:gd name="T16" fmla="*/ 12 w 353"/>
                <a:gd name="T17" fmla="*/ 12 h 353"/>
                <a:gd name="T18" fmla="*/ 12 w 353"/>
                <a:gd name="T19" fmla="*/ 34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3" h="353">
                  <a:moveTo>
                    <a:pt x="353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3" y="0"/>
                  </a:lnTo>
                  <a:lnTo>
                    <a:pt x="353" y="353"/>
                  </a:lnTo>
                  <a:close/>
                  <a:moveTo>
                    <a:pt x="12" y="340"/>
                  </a:moveTo>
                  <a:lnTo>
                    <a:pt x="341" y="340"/>
                  </a:lnTo>
                  <a:lnTo>
                    <a:pt x="341" y="12"/>
                  </a:lnTo>
                  <a:lnTo>
                    <a:pt x="12" y="12"/>
                  </a:lnTo>
                  <a:lnTo>
                    <a:pt x="12" y="340"/>
                  </a:lnTo>
                  <a:close/>
                </a:path>
              </a:pathLst>
            </a:custGeom>
            <a:solidFill>
              <a:srgbClr val="D670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5" name="íśḻîḋé">
              <a:extLst>
                <a:ext uri="{FF2B5EF4-FFF2-40B4-BE49-F238E27FC236}">
                  <a16:creationId xmlns:a16="http://schemas.microsoft.com/office/drawing/2014/main" id="{660A639E-ABAF-4529-BB9C-3A2547752BB7}"/>
                </a:ext>
              </a:extLst>
            </p:cNvPr>
            <p:cNvSpPr/>
            <p:nvPr/>
          </p:nvSpPr>
          <p:spPr bwMode="auto">
            <a:xfrm>
              <a:off x="7179994" y="4321656"/>
              <a:ext cx="526182" cy="524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6" name="îSḷïďe">
              <a:extLst>
                <a:ext uri="{FF2B5EF4-FFF2-40B4-BE49-F238E27FC236}">
                  <a16:creationId xmlns:a16="http://schemas.microsoft.com/office/drawing/2014/main" id="{B2934A8B-A32A-4E79-A462-6D7AC3E8572B}"/>
                </a:ext>
              </a:extLst>
            </p:cNvPr>
            <p:cNvSpPr/>
            <p:nvPr/>
          </p:nvSpPr>
          <p:spPr bwMode="auto">
            <a:xfrm>
              <a:off x="7170736" y="4312398"/>
              <a:ext cx="543155" cy="544698"/>
            </a:xfrm>
            <a:custGeom>
              <a:avLst/>
              <a:gdLst>
                <a:gd name="T0" fmla="*/ 352 w 352"/>
                <a:gd name="T1" fmla="*/ 353 h 353"/>
                <a:gd name="T2" fmla="*/ 0 w 352"/>
                <a:gd name="T3" fmla="*/ 353 h 353"/>
                <a:gd name="T4" fmla="*/ 0 w 352"/>
                <a:gd name="T5" fmla="*/ 0 h 353"/>
                <a:gd name="T6" fmla="*/ 352 w 352"/>
                <a:gd name="T7" fmla="*/ 0 h 353"/>
                <a:gd name="T8" fmla="*/ 352 w 352"/>
                <a:gd name="T9" fmla="*/ 353 h 353"/>
                <a:gd name="T10" fmla="*/ 12 w 352"/>
                <a:gd name="T11" fmla="*/ 340 h 353"/>
                <a:gd name="T12" fmla="*/ 340 w 352"/>
                <a:gd name="T13" fmla="*/ 340 h 353"/>
                <a:gd name="T14" fmla="*/ 340 w 352"/>
                <a:gd name="T15" fmla="*/ 12 h 353"/>
                <a:gd name="T16" fmla="*/ 12 w 352"/>
                <a:gd name="T17" fmla="*/ 12 h 353"/>
                <a:gd name="T18" fmla="*/ 12 w 352"/>
                <a:gd name="T19" fmla="*/ 34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2" h="353">
                  <a:moveTo>
                    <a:pt x="352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2" y="0"/>
                  </a:lnTo>
                  <a:lnTo>
                    <a:pt x="352" y="353"/>
                  </a:lnTo>
                  <a:close/>
                  <a:moveTo>
                    <a:pt x="12" y="340"/>
                  </a:moveTo>
                  <a:lnTo>
                    <a:pt x="340" y="340"/>
                  </a:lnTo>
                  <a:lnTo>
                    <a:pt x="340" y="12"/>
                  </a:lnTo>
                  <a:lnTo>
                    <a:pt x="12" y="12"/>
                  </a:lnTo>
                  <a:lnTo>
                    <a:pt x="12" y="340"/>
                  </a:lnTo>
                  <a:close/>
                </a:path>
              </a:pathLst>
            </a:custGeom>
            <a:solidFill>
              <a:srgbClr val="D670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7" name="îṣḷidé">
              <a:extLst>
                <a:ext uri="{FF2B5EF4-FFF2-40B4-BE49-F238E27FC236}">
                  <a16:creationId xmlns:a16="http://schemas.microsoft.com/office/drawing/2014/main" id="{238FE971-DA84-4DD7-B62F-4563C8836D51}"/>
                </a:ext>
              </a:extLst>
            </p:cNvPr>
            <p:cNvSpPr/>
            <p:nvPr/>
          </p:nvSpPr>
          <p:spPr bwMode="auto">
            <a:xfrm>
              <a:off x="7706175" y="4321656"/>
              <a:ext cx="526182" cy="5246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8" name="iśḻïdê">
              <a:extLst>
                <a:ext uri="{FF2B5EF4-FFF2-40B4-BE49-F238E27FC236}">
                  <a16:creationId xmlns:a16="http://schemas.microsoft.com/office/drawing/2014/main" id="{EA80B0B3-6840-431E-8112-F8EA10C196B9}"/>
                </a:ext>
              </a:extLst>
            </p:cNvPr>
            <p:cNvSpPr/>
            <p:nvPr/>
          </p:nvSpPr>
          <p:spPr bwMode="auto">
            <a:xfrm>
              <a:off x="7695374" y="4312398"/>
              <a:ext cx="546241" cy="544698"/>
            </a:xfrm>
            <a:custGeom>
              <a:avLst/>
              <a:gdLst>
                <a:gd name="T0" fmla="*/ 354 w 354"/>
                <a:gd name="T1" fmla="*/ 353 h 353"/>
                <a:gd name="T2" fmla="*/ 0 w 354"/>
                <a:gd name="T3" fmla="*/ 353 h 353"/>
                <a:gd name="T4" fmla="*/ 0 w 354"/>
                <a:gd name="T5" fmla="*/ 0 h 353"/>
                <a:gd name="T6" fmla="*/ 354 w 354"/>
                <a:gd name="T7" fmla="*/ 0 h 353"/>
                <a:gd name="T8" fmla="*/ 354 w 354"/>
                <a:gd name="T9" fmla="*/ 353 h 353"/>
                <a:gd name="T10" fmla="*/ 12 w 354"/>
                <a:gd name="T11" fmla="*/ 340 h 353"/>
                <a:gd name="T12" fmla="*/ 342 w 354"/>
                <a:gd name="T13" fmla="*/ 340 h 353"/>
                <a:gd name="T14" fmla="*/ 342 w 354"/>
                <a:gd name="T15" fmla="*/ 12 h 353"/>
                <a:gd name="T16" fmla="*/ 12 w 354"/>
                <a:gd name="T17" fmla="*/ 12 h 353"/>
                <a:gd name="T18" fmla="*/ 12 w 354"/>
                <a:gd name="T19" fmla="*/ 34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" h="353">
                  <a:moveTo>
                    <a:pt x="354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4" y="0"/>
                  </a:lnTo>
                  <a:lnTo>
                    <a:pt x="354" y="353"/>
                  </a:lnTo>
                  <a:close/>
                  <a:moveTo>
                    <a:pt x="12" y="340"/>
                  </a:moveTo>
                  <a:lnTo>
                    <a:pt x="342" y="340"/>
                  </a:lnTo>
                  <a:lnTo>
                    <a:pt x="342" y="12"/>
                  </a:lnTo>
                  <a:lnTo>
                    <a:pt x="12" y="12"/>
                  </a:lnTo>
                  <a:lnTo>
                    <a:pt x="12" y="340"/>
                  </a:lnTo>
                  <a:close/>
                </a:path>
              </a:pathLst>
            </a:custGeom>
            <a:solidFill>
              <a:srgbClr val="D670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9" name="ïṧļiḍè">
              <a:extLst>
                <a:ext uri="{FF2B5EF4-FFF2-40B4-BE49-F238E27FC236}">
                  <a16:creationId xmlns:a16="http://schemas.microsoft.com/office/drawing/2014/main" id="{28052D45-5338-4C69-B274-B018E968C1A8}"/>
                </a:ext>
              </a:extLst>
            </p:cNvPr>
            <p:cNvSpPr/>
            <p:nvPr/>
          </p:nvSpPr>
          <p:spPr bwMode="auto">
            <a:xfrm>
              <a:off x="6652270" y="4846294"/>
              <a:ext cx="527724" cy="52618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0" name="îṥlîḍé">
              <a:extLst>
                <a:ext uri="{FF2B5EF4-FFF2-40B4-BE49-F238E27FC236}">
                  <a16:creationId xmlns:a16="http://schemas.microsoft.com/office/drawing/2014/main" id="{4F82EDCD-6281-48D3-B185-A9BCC40EDF69}"/>
                </a:ext>
              </a:extLst>
            </p:cNvPr>
            <p:cNvSpPr/>
            <p:nvPr/>
          </p:nvSpPr>
          <p:spPr bwMode="auto">
            <a:xfrm>
              <a:off x="6644555" y="4837035"/>
              <a:ext cx="544698" cy="544698"/>
            </a:xfrm>
            <a:custGeom>
              <a:avLst/>
              <a:gdLst>
                <a:gd name="T0" fmla="*/ 353 w 353"/>
                <a:gd name="T1" fmla="*/ 353 h 353"/>
                <a:gd name="T2" fmla="*/ 0 w 353"/>
                <a:gd name="T3" fmla="*/ 353 h 353"/>
                <a:gd name="T4" fmla="*/ 0 w 353"/>
                <a:gd name="T5" fmla="*/ 0 h 353"/>
                <a:gd name="T6" fmla="*/ 353 w 353"/>
                <a:gd name="T7" fmla="*/ 0 h 353"/>
                <a:gd name="T8" fmla="*/ 353 w 353"/>
                <a:gd name="T9" fmla="*/ 353 h 353"/>
                <a:gd name="T10" fmla="*/ 12 w 353"/>
                <a:gd name="T11" fmla="*/ 341 h 353"/>
                <a:gd name="T12" fmla="*/ 341 w 353"/>
                <a:gd name="T13" fmla="*/ 341 h 353"/>
                <a:gd name="T14" fmla="*/ 341 w 353"/>
                <a:gd name="T15" fmla="*/ 13 h 353"/>
                <a:gd name="T16" fmla="*/ 12 w 353"/>
                <a:gd name="T17" fmla="*/ 13 h 353"/>
                <a:gd name="T18" fmla="*/ 12 w 353"/>
                <a:gd name="T19" fmla="*/ 3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3" h="353">
                  <a:moveTo>
                    <a:pt x="353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3" y="0"/>
                  </a:lnTo>
                  <a:lnTo>
                    <a:pt x="353" y="353"/>
                  </a:lnTo>
                  <a:close/>
                  <a:moveTo>
                    <a:pt x="12" y="341"/>
                  </a:moveTo>
                  <a:lnTo>
                    <a:pt x="341" y="341"/>
                  </a:lnTo>
                  <a:lnTo>
                    <a:pt x="341" y="13"/>
                  </a:lnTo>
                  <a:lnTo>
                    <a:pt x="12" y="13"/>
                  </a:lnTo>
                  <a:lnTo>
                    <a:pt x="12" y="341"/>
                  </a:lnTo>
                  <a:close/>
                </a:path>
              </a:pathLst>
            </a:custGeom>
            <a:solidFill>
              <a:srgbClr val="D670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1" name="ïşļiḍé">
              <a:extLst>
                <a:ext uri="{FF2B5EF4-FFF2-40B4-BE49-F238E27FC236}">
                  <a16:creationId xmlns:a16="http://schemas.microsoft.com/office/drawing/2014/main" id="{B3AFC80D-A7A3-4946-AEEA-5ACBB7E3F4CD}"/>
                </a:ext>
              </a:extLst>
            </p:cNvPr>
            <p:cNvSpPr/>
            <p:nvPr/>
          </p:nvSpPr>
          <p:spPr bwMode="auto">
            <a:xfrm>
              <a:off x="7179994" y="4846294"/>
              <a:ext cx="526182" cy="52618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2" name="išḷíḋé">
              <a:extLst>
                <a:ext uri="{FF2B5EF4-FFF2-40B4-BE49-F238E27FC236}">
                  <a16:creationId xmlns:a16="http://schemas.microsoft.com/office/drawing/2014/main" id="{549A5E53-CBFF-4630-8F6A-561F1E7B21FA}"/>
                </a:ext>
              </a:extLst>
            </p:cNvPr>
            <p:cNvSpPr/>
            <p:nvPr/>
          </p:nvSpPr>
          <p:spPr bwMode="auto">
            <a:xfrm>
              <a:off x="7170736" y="4837035"/>
              <a:ext cx="543155" cy="544698"/>
            </a:xfrm>
            <a:custGeom>
              <a:avLst/>
              <a:gdLst>
                <a:gd name="T0" fmla="*/ 352 w 352"/>
                <a:gd name="T1" fmla="*/ 353 h 353"/>
                <a:gd name="T2" fmla="*/ 0 w 352"/>
                <a:gd name="T3" fmla="*/ 353 h 353"/>
                <a:gd name="T4" fmla="*/ 0 w 352"/>
                <a:gd name="T5" fmla="*/ 0 h 353"/>
                <a:gd name="T6" fmla="*/ 352 w 352"/>
                <a:gd name="T7" fmla="*/ 0 h 353"/>
                <a:gd name="T8" fmla="*/ 352 w 352"/>
                <a:gd name="T9" fmla="*/ 353 h 353"/>
                <a:gd name="T10" fmla="*/ 12 w 352"/>
                <a:gd name="T11" fmla="*/ 341 h 353"/>
                <a:gd name="T12" fmla="*/ 340 w 352"/>
                <a:gd name="T13" fmla="*/ 341 h 353"/>
                <a:gd name="T14" fmla="*/ 340 w 352"/>
                <a:gd name="T15" fmla="*/ 13 h 353"/>
                <a:gd name="T16" fmla="*/ 12 w 352"/>
                <a:gd name="T17" fmla="*/ 13 h 353"/>
                <a:gd name="T18" fmla="*/ 12 w 352"/>
                <a:gd name="T19" fmla="*/ 3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2" h="353">
                  <a:moveTo>
                    <a:pt x="352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2" y="0"/>
                  </a:lnTo>
                  <a:lnTo>
                    <a:pt x="352" y="353"/>
                  </a:lnTo>
                  <a:close/>
                  <a:moveTo>
                    <a:pt x="12" y="341"/>
                  </a:moveTo>
                  <a:lnTo>
                    <a:pt x="340" y="341"/>
                  </a:lnTo>
                  <a:lnTo>
                    <a:pt x="340" y="13"/>
                  </a:lnTo>
                  <a:lnTo>
                    <a:pt x="12" y="13"/>
                  </a:lnTo>
                  <a:lnTo>
                    <a:pt x="12" y="341"/>
                  </a:lnTo>
                  <a:close/>
                </a:path>
              </a:pathLst>
            </a:custGeom>
            <a:solidFill>
              <a:srgbClr val="D670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3" name="işľiḍè">
              <a:extLst>
                <a:ext uri="{FF2B5EF4-FFF2-40B4-BE49-F238E27FC236}">
                  <a16:creationId xmlns:a16="http://schemas.microsoft.com/office/drawing/2014/main" id="{BE7437DD-EC54-438F-A2A0-81DA9C8B45F8}"/>
                </a:ext>
              </a:extLst>
            </p:cNvPr>
            <p:cNvSpPr/>
            <p:nvPr/>
          </p:nvSpPr>
          <p:spPr bwMode="auto">
            <a:xfrm>
              <a:off x="7706175" y="4846294"/>
              <a:ext cx="526182" cy="52618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4" name="ïṥ1ïḓé">
              <a:extLst>
                <a:ext uri="{FF2B5EF4-FFF2-40B4-BE49-F238E27FC236}">
                  <a16:creationId xmlns:a16="http://schemas.microsoft.com/office/drawing/2014/main" id="{A5C8045A-7C89-445F-BEA2-948DD0F8CFDE}"/>
                </a:ext>
              </a:extLst>
            </p:cNvPr>
            <p:cNvSpPr/>
            <p:nvPr/>
          </p:nvSpPr>
          <p:spPr bwMode="auto">
            <a:xfrm>
              <a:off x="7695374" y="4837035"/>
              <a:ext cx="546241" cy="544698"/>
            </a:xfrm>
            <a:custGeom>
              <a:avLst/>
              <a:gdLst>
                <a:gd name="T0" fmla="*/ 354 w 354"/>
                <a:gd name="T1" fmla="*/ 353 h 353"/>
                <a:gd name="T2" fmla="*/ 0 w 354"/>
                <a:gd name="T3" fmla="*/ 353 h 353"/>
                <a:gd name="T4" fmla="*/ 0 w 354"/>
                <a:gd name="T5" fmla="*/ 0 h 353"/>
                <a:gd name="T6" fmla="*/ 354 w 354"/>
                <a:gd name="T7" fmla="*/ 0 h 353"/>
                <a:gd name="T8" fmla="*/ 354 w 354"/>
                <a:gd name="T9" fmla="*/ 353 h 353"/>
                <a:gd name="T10" fmla="*/ 12 w 354"/>
                <a:gd name="T11" fmla="*/ 341 h 353"/>
                <a:gd name="T12" fmla="*/ 342 w 354"/>
                <a:gd name="T13" fmla="*/ 341 h 353"/>
                <a:gd name="T14" fmla="*/ 342 w 354"/>
                <a:gd name="T15" fmla="*/ 13 h 353"/>
                <a:gd name="T16" fmla="*/ 12 w 354"/>
                <a:gd name="T17" fmla="*/ 13 h 353"/>
                <a:gd name="T18" fmla="*/ 12 w 354"/>
                <a:gd name="T19" fmla="*/ 3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" h="353">
                  <a:moveTo>
                    <a:pt x="354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4" y="0"/>
                  </a:lnTo>
                  <a:lnTo>
                    <a:pt x="354" y="353"/>
                  </a:lnTo>
                  <a:close/>
                  <a:moveTo>
                    <a:pt x="12" y="341"/>
                  </a:moveTo>
                  <a:lnTo>
                    <a:pt x="342" y="341"/>
                  </a:lnTo>
                  <a:lnTo>
                    <a:pt x="342" y="13"/>
                  </a:lnTo>
                  <a:lnTo>
                    <a:pt x="12" y="13"/>
                  </a:lnTo>
                  <a:lnTo>
                    <a:pt x="12" y="341"/>
                  </a:lnTo>
                  <a:close/>
                </a:path>
              </a:pathLst>
            </a:custGeom>
            <a:solidFill>
              <a:srgbClr val="D670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5" name="iŝļídè">
              <a:extLst>
                <a:ext uri="{FF2B5EF4-FFF2-40B4-BE49-F238E27FC236}">
                  <a16:creationId xmlns:a16="http://schemas.microsoft.com/office/drawing/2014/main" id="{AE5B34A5-E7C9-4F81-9F4B-5D5D08504D5C}"/>
                </a:ext>
              </a:extLst>
            </p:cNvPr>
            <p:cNvSpPr/>
            <p:nvPr/>
          </p:nvSpPr>
          <p:spPr bwMode="auto">
            <a:xfrm>
              <a:off x="7871282" y="3932807"/>
              <a:ext cx="194425" cy="273121"/>
            </a:xfrm>
            <a:custGeom>
              <a:avLst/>
              <a:gdLst>
                <a:gd name="T0" fmla="*/ 116 w 116"/>
                <a:gd name="T1" fmla="*/ 136 h 164"/>
                <a:gd name="T2" fmla="*/ 116 w 116"/>
                <a:gd name="T3" fmla="*/ 164 h 164"/>
                <a:gd name="T4" fmla="*/ 5 w 116"/>
                <a:gd name="T5" fmla="*/ 164 h 164"/>
                <a:gd name="T6" fmla="*/ 5 w 116"/>
                <a:gd name="T7" fmla="*/ 138 h 164"/>
                <a:gd name="T8" fmla="*/ 59 w 116"/>
                <a:gd name="T9" fmla="*/ 81 h 164"/>
                <a:gd name="T10" fmla="*/ 76 w 116"/>
                <a:gd name="T11" fmla="*/ 48 h 164"/>
                <a:gd name="T12" fmla="*/ 70 w 116"/>
                <a:gd name="T13" fmla="*/ 33 h 164"/>
                <a:gd name="T14" fmla="*/ 54 w 116"/>
                <a:gd name="T15" fmla="*/ 28 h 164"/>
                <a:gd name="T16" fmla="*/ 11 w 116"/>
                <a:gd name="T17" fmla="*/ 44 h 164"/>
                <a:gd name="T18" fmla="*/ 0 w 116"/>
                <a:gd name="T19" fmla="*/ 19 h 164"/>
                <a:gd name="T20" fmla="*/ 25 w 116"/>
                <a:gd name="T21" fmla="*/ 5 h 164"/>
                <a:gd name="T22" fmla="*/ 56 w 116"/>
                <a:gd name="T23" fmla="*/ 0 h 164"/>
                <a:gd name="T24" fmla="*/ 96 w 116"/>
                <a:gd name="T25" fmla="*/ 13 h 164"/>
                <a:gd name="T26" fmla="*/ 110 w 116"/>
                <a:gd name="T27" fmla="*/ 45 h 164"/>
                <a:gd name="T28" fmla="*/ 105 w 116"/>
                <a:gd name="T29" fmla="*/ 71 h 164"/>
                <a:gd name="T30" fmla="*/ 85 w 116"/>
                <a:gd name="T31" fmla="*/ 97 h 164"/>
                <a:gd name="T32" fmla="*/ 49 w 116"/>
                <a:gd name="T33" fmla="*/ 136 h 164"/>
                <a:gd name="T34" fmla="*/ 116 w 116"/>
                <a:gd name="T35" fmla="*/ 13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6" h="164">
                  <a:moveTo>
                    <a:pt x="116" y="136"/>
                  </a:moveTo>
                  <a:cubicBezTo>
                    <a:pt x="116" y="164"/>
                    <a:pt x="116" y="164"/>
                    <a:pt x="116" y="164"/>
                  </a:cubicBezTo>
                  <a:cubicBezTo>
                    <a:pt x="5" y="164"/>
                    <a:pt x="5" y="164"/>
                    <a:pt x="5" y="164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59" y="81"/>
                    <a:pt x="59" y="81"/>
                    <a:pt x="59" y="81"/>
                  </a:cubicBezTo>
                  <a:cubicBezTo>
                    <a:pt x="70" y="69"/>
                    <a:pt x="76" y="58"/>
                    <a:pt x="76" y="48"/>
                  </a:cubicBezTo>
                  <a:cubicBezTo>
                    <a:pt x="76" y="41"/>
                    <a:pt x="74" y="36"/>
                    <a:pt x="70" y="33"/>
                  </a:cubicBezTo>
                  <a:cubicBezTo>
                    <a:pt x="67" y="30"/>
                    <a:pt x="61" y="28"/>
                    <a:pt x="54" y="28"/>
                  </a:cubicBezTo>
                  <a:cubicBezTo>
                    <a:pt x="40" y="28"/>
                    <a:pt x="26" y="34"/>
                    <a:pt x="11" y="4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6" y="13"/>
                    <a:pt x="15" y="9"/>
                    <a:pt x="25" y="5"/>
                  </a:cubicBezTo>
                  <a:cubicBezTo>
                    <a:pt x="35" y="2"/>
                    <a:pt x="45" y="0"/>
                    <a:pt x="56" y="0"/>
                  </a:cubicBezTo>
                  <a:cubicBezTo>
                    <a:pt x="72" y="0"/>
                    <a:pt x="86" y="4"/>
                    <a:pt x="96" y="13"/>
                  </a:cubicBezTo>
                  <a:cubicBezTo>
                    <a:pt x="106" y="21"/>
                    <a:pt x="110" y="31"/>
                    <a:pt x="110" y="45"/>
                  </a:cubicBezTo>
                  <a:cubicBezTo>
                    <a:pt x="110" y="54"/>
                    <a:pt x="109" y="63"/>
                    <a:pt x="105" y="71"/>
                  </a:cubicBezTo>
                  <a:cubicBezTo>
                    <a:pt x="101" y="79"/>
                    <a:pt x="94" y="88"/>
                    <a:pt x="85" y="97"/>
                  </a:cubicBezTo>
                  <a:cubicBezTo>
                    <a:pt x="49" y="136"/>
                    <a:pt x="49" y="136"/>
                    <a:pt x="49" y="136"/>
                  </a:cubicBezTo>
                  <a:lnTo>
                    <a:pt x="116" y="136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6" name="ïš1íde">
              <a:extLst>
                <a:ext uri="{FF2B5EF4-FFF2-40B4-BE49-F238E27FC236}">
                  <a16:creationId xmlns:a16="http://schemas.microsoft.com/office/drawing/2014/main" id="{DF91BE40-9C40-4491-A6BF-F20E4ADEF5C1}"/>
                </a:ext>
              </a:extLst>
            </p:cNvPr>
            <p:cNvSpPr/>
            <p:nvPr/>
          </p:nvSpPr>
          <p:spPr bwMode="auto">
            <a:xfrm>
              <a:off x="7895971" y="4991341"/>
              <a:ext cx="194425" cy="274663"/>
            </a:xfrm>
            <a:custGeom>
              <a:avLst/>
              <a:gdLst>
                <a:gd name="T0" fmla="*/ 109 w 117"/>
                <a:gd name="T1" fmla="*/ 94 h 165"/>
                <a:gd name="T2" fmla="*/ 117 w 117"/>
                <a:gd name="T3" fmla="*/ 119 h 165"/>
                <a:gd name="T4" fmla="*/ 101 w 117"/>
                <a:gd name="T5" fmla="*/ 153 h 165"/>
                <a:gd name="T6" fmla="*/ 57 w 117"/>
                <a:gd name="T7" fmla="*/ 165 h 165"/>
                <a:gd name="T8" fmla="*/ 25 w 117"/>
                <a:gd name="T9" fmla="*/ 160 h 165"/>
                <a:gd name="T10" fmla="*/ 0 w 117"/>
                <a:gd name="T11" fmla="*/ 147 h 165"/>
                <a:gd name="T12" fmla="*/ 11 w 117"/>
                <a:gd name="T13" fmla="*/ 122 h 165"/>
                <a:gd name="T14" fmla="*/ 55 w 117"/>
                <a:gd name="T15" fmla="*/ 137 h 165"/>
                <a:gd name="T16" fmla="*/ 77 w 117"/>
                <a:gd name="T17" fmla="*/ 132 h 165"/>
                <a:gd name="T18" fmla="*/ 83 w 117"/>
                <a:gd name="T19" fmla="*/ 116 h 165"/>
                <a:gd name="T20" fmla="*/ 77 w 117"/>
                <a:gd name="T21" fmla="*/ 100 h 165"/>
                <a:gd name="T22" fmla="*/ 55 w 117"/>
                <a:gd name="T23" fmla="*/ 95 h 165"/>
                <a:gd name="T24" fmla="*/ 32 w 117"/>
                <a:gd name="T25" fmla="*/ 95 h 165"/>
                <a:gd name="T26" fmla="*/ 32 w 117"/>
                <a:gd name="T27" fmla="*/ 68 h 165"/>
                <a:gd name="T28" fmla="*/ 52 w 117"/>
                <a:gd name="T29" fmla="*/ 68 h 165"/>
                <a:gd name="T30" fmla="*/ 72 w 117"/>
                <a:gd name="T31" fmla="*/ 63 h 165"/>
                <a:gd name="T32" fmla="*/ 79 w 117"/>
                <a:gd name="T33" fmla="*/ 48 h 165"/>
                <a:gd name="T34" fmla="*/ 73 w 117"/>
                <a:gd name="T35" fmla="*/ 33 h 165"/>
                <a:gd name="T36" fmla="*/ 56 w 117"/>
                <a:gd name="T37" fmla="*/ 28 h 165"/>
                <a:gd name="T38" fmla="*/ 35 w 117"/>
                <a:gd name="T39" fmla="*/ 32 h 165"/>
                <a:gd name="T40" fmla="*/ 13 w 117"/>
                <a:gd name="T41" fmla="*/ 43 h 165"/>
                <a:gd name="T42" fmla="*/ 2 w 117"/>
                <a:gd name="T43" fmla="*/ 18 h 165"/>
                <a:gd name="T44" fmla="*/ 27 w 117"/>
                <a:gd name="T45" fmla="*/ 5 h 165"/>
                <a:gd name="T46" fmla="*/ 58 w 117"/>
                <a:gd name="T47" fmla="*/ 0 h 165"/>
                <a:gd name="T48" fmla="*/ 87 w 117"/>
                <a:gd name="T49" fmla="*/ 5 h 165"/>
                <a:gd name="T50" fmla="*/ 106 w 117"/>
                <a:gd name="T51" fmla="*/ 20 h 165"/>
                <a:gd name="T52" fmla="*/ 113 w 117"/>
                <a:gd name="T53" fmla="*/ 43 h 165"/>
                <a:gd name="T54" fmla="*/ 106 w 117"/>
                <a:gd name="T55" fmla="*/ 66 h 165"/>
                <a:gd name="T56" fmla="*/ 88 w 117"/>
                <a:gd name="T57" fmla="*/ 80 h 165"/>
                <a:gd name="T58" fmla="*/ 109 w 117"/>
                <a:gd name="T59" fmla="*/ 9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7" h="165">
                  <a:moveTo>
                    <a:pt x="109" y="94"/>
                  </a:moveTo>
                  <a:cubicBezTo>
                    <a:pt x="114" y="101"/>
                    <a:pt x="117" y="109"/>
                    <a:pt x="117" y="119"/>
                  </a:cubicBezTo>
                  <a:cubicBezTo>
                    <a:pt x="117" y="133"/>
                    <a:pt x="111" y="145"/>
                    <a:pt x="101" y="153"/>
                  </a:cubicBezTo>
                  <a:cubicBezTo>
                    <a:pt x="90" y="161"/>
                    <a:pt x="75" y="165"/>
                    <a:pt x="57" y="165"/>
                  </a:cubicBezTo>
                  <a:cubicBezTo>
                    <a:pt x="46" y="165"/>
                    <a:pt x="35" y="163"/>
                    <a:pt x="25" y="160"/>
                  </a:cubicBezTo>
                  <a:cubicBezTo>
                    <a:pt x="15" y="157"/>
                    <a:pt x="6" y="152"/>
                    <a:pt x="0" y="147"/>
                  </a:cubicBezTo>
                  <a:cubicBezTo>
                    <a:pt x="11" y="122"/>
                    <a:pt x="11" y="122"/>
                    <a:pt x="11" y="122"/>
                  </a:cubicBezTo>
                  <a:cubicBezTo>
                    <a:pt x="26" y="132"/>
                    <a:pt x="40" y="137"/>
                    <a:pt x="55" y="137"/>
                  </a:cubicBezTo>
                  <a:cubicBezTo>
                    <a:pt x="65" y="137"/>
                    <a:pt x="72" y="135"/>
                    <a:pt x="77" y="132"/>
                  </a:cubicBezTo>
                  <a:cubicBezTo>
                    <a:pt x="81" y="129"/>
                    <a:pt x="83" y="123"/>
                    <a:pt x="83" y="116"/>
                  </a:cubicBezTo>
                  <a:cubicBezTo>
                    <a:pt x="83" y="109"/>
                    <a:pt x="81" y="104"/>
                    <a:pt x="77" y="100"/>
                  </a:cubicBezTo>
                  <a:cubicBezTo>
                    <a:pt x="72" y="97"/>
                    <a:pt x="65" y="95"/>
                    <a:pt x="55" y="95"/>
                  </a:cubicBezTo>
                  <a:cubicBezTo>
                    <a:pt x="32" y="95"/>
                    <a:pt x="32" y="95"/>
                    <a:pt x="32" y="95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61" y="68"/>
                    <a:pt x="68" y="66"/>
                    <a:pt x="72" y="63"/>
                  </a:cubicBezTo>
                  <a:cubicBezTo>
                    <a:pt x="77" y="60"/>
                    <a:pt x="79" y="55"/>
                    <a:pt x="79" y="48"/>
                  </a:cubicBezTo>
                  <a:cubicBezTo>
                    <a:pt x="79" y="41"/>
                    <a:pt x="77" y="36"/>
                    <a:pt x="73" y="33"/>
                  </a:cubicBezTo>
                  <a:cubicBezTo>
                    <a:pt x="69" y="29"/>
                    <a:pt x="63" y="28"/>
                    <a:pt x="56" y="28"/>
                  </a:cubicBezTo>
                  <a:cubicBezTo>
                    <a:pt x="49" y="28"/>
                    <a:pt x="42" y="29"/>
                    <a:pt x="35" y="32"/>
                  </a:cubicBezTo>
                  <a:cubicBezTo>
                    <a:pt x="27" y="34"/>
                    <a:pt x="20" y="38"/>
                    <a:pt x="13" y="43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9" y="12"/>
                    <a:pt x="17" y="8"/>
                    <a:pt x="27" y="5"/>
                  </a:cubicBezTo>
                  <a:cubicBezTo>
                    <a:pt x="37" y="1"/>
                    <a:pt x="48" y="0"/>
                    <a:pt x="58" y="0"/>
                  </a:cubicBezTo>
                  <a:cubicBezTo>
                    <a:pt x="69" y="0"/>
                    <a:pt x="79" y="2"/>
                    <a:pt x="87" y="5"/>
                  </a:cubicBezTo>
                  <a:cubicBezTo>
                    <a:pt x="95" y="9"/>
                    <a:pt x="102" y="14"/>
                    <a:pt x="106" y="20"/>
                  </a:cubicBezTo>
                  <a:cubicBezTo>
                    <a:pt x="111" y="27"/>
                    <a:pt x="113" y="35"/>
                    <a:pt x="113" y="43"/>
                  </a:cubicBezTo>
                  <a:cubicBezTo>
                    <a:pt x="113" y="52"/>
                    <a:pt x="111" y="60"/>
                    <a:pt x="106" y="66"/>
                  </a:cubicBezTo>
                  <a:cubicBezTo>
                    <a:pt x="102" y="73"/>
                    <a:pt x="96" y="77"/>
                    <a:pt x="88" y="80"/>
                  </a:cubicBezTo>
                  <a:cubicBezTo>
                    <a:pt x="97" y="83"/>
                    <a:pt x="104" y="88"/>
                    <a:pt x="109" y="94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7" name="ïşḻiḓè">
              <a:extLst>
                <a:ext uri="{FF2B5EF4-FFF2-40B4-BE49-F238E27FC236}">
                  <a16:creationId xmlns:a16="http://schemas.microsoft.com/office/drawing/2014/main" id="{C561F3B4-9868-4208-A050-C5BF61B8C422}"/>
                </a:ext>
              </a:extLst>
            </p:cNvPr>
            <p:cNvSpPr/>
            <p:nvPr/>
          </p:nvSpPr>
          <p:spPr bwMode="auto">
            <a:xfrm>
              <a:off x="7352816" y="3922005"/>
              <a:ext cx="195968" cy="274663"/>
            </a:xfrm>
            <a:custGeom>
              <a:avLst/>
              <a:gdLst>
                <a:gd name="T0" fmla="*/ 93 w 117"/>
                <a:gd name="T1" fmla="*/ 64 h 164"/>
                <a:gd name="T2" fmla="*/ 111 w 117"/>
                <a:gd name="T3" fmla="*/ 82 h 164"/>
                <a:gd name="T4" fmla="*/ 117 w 117"/>
                <a:gd name="T5" fmla="*/ 109 h 164"/>
                <a:gd name="T6" fmla="*/ 110 w 117"/>
                <a:gd name="T7" fmla="*/ 138 h 164"/>
                <a:gd name="T8" fmla="*/ 88 w 117"/>
                <a:gd name="T9" fmla="*/ 157 h 164"/>
                <a:gd name="T10" fmla="*/ 55 w 117"/>
                <a:gd name="T11" fmla="*/ 164 h 164"/>
                <a:gd name="T12" fmla="*/ 24 w 117"/>
                <a:gd name="T13" fmla="*/ 159 h 164"/>
                <a:gd name="T14" fmla="*/ 0 w 117"/>
                <a:gd name="T15" fmla="*/ 145 h 164"/>
                <a:gd name="T16" fmla="*/ 11 w 117"/>
                <a:gd name="T17" fmla="*/ 120 h 164"/>
                <a:gd name="T18" fmla="*/ 55 w 117"/>
                <a:gd name="T19" fmla="*/ 136 h 164"/>
                <a:gd name="T20" fmla="*/ 84 w 117"/>
                <a:gd name="T21" fmla="*/ 110 h 164"/>
                <a:gd name="T22" fmla="*/ 76 w 117"/>
                <a:gd name="T23" fmla="*/ 92 h 164"/>
                <a:gd name="T24" fmla="*/ 56 w 117"/>
                <a:gd name="T25" fmla="*/ 85 h 164"/>
                <a:gd name="T26" fmla="*/ 40 w 117"/>
                <a:gd name="T27" fmla="*/ 88 h 164"/>
                <a:gd name="T28" fmla="*/ 26 w 117"/>
                <a:gd name="T29" fmla="*/ 96 h 164"/>
                <a:gd name="T30" fmla="*/ 6 w 117"/>
                <a:gd name="T31" fmla="*/ 96 h 164"/>
                <a:gd name="T32" fmla="*/ 6 w 117"/>
                <a:gd name="T33" fmla="*/ 0 h 164"/>
                <a:gd name="T34" fmla="*/ 109 w 117"/>
                <a:gd name="T35" fmla="*/ 0 h 164"/>
                <a:gd name="T36" fmla="*/ 109 w 117"/>
                <a:gd name="T37" fmla="*/ 28 h 164"/>
                <a:gd name="T38" fmla="*/ 40 w 117"/>
                <a:gd name="T39" fmla="*/ 28 h 164"/>
                <a:gd name="T40" fmla="*/ 40 w 117"/>
                <a:gd name="T41" fmla="*/ 64 h 164"/>
                <a:gd name="T42" fmla="*/ 66 w 117"/>
                <a:gd name="T43" fmla="*/ 57 h 164"/>
                <a:gd name="T44" fmla="*/ 93 w 117"/>
                <a:gd name="T45" fmla="*/ 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7" h="164">
                  <a:moveTo>
                    <a:pt x="93" y="64"/>
                  </a:moveTo>
                  <a:cubicBezTo>
                    <a:pt x="100" y="68"/>
                    <a:pt x="107" y="74"/>
                    <a:pt x="111" y="82"/>
                  </a:cubicBezTo>
                  <a:cubicBezTo>
                    <a:pt x="115" y="90"/>
                    <a:pt x="117" y="99"/>
                    <a:pt x="117" y="109"/>
                  </a:cubicBezTo>
                  <a:cubicBezTo>
                    <a:pt x="117" y="120"/>
                    <a:pt x="115" y="130"/>
                    <a:pt x="110" y="138"/>
                  </a:cubicBezTo>
                  <a:cubicBezTo>
                    <a:pt x="105" y="146"/>
                    <a:pt x="97" y="152"/>
                    <a:pt x="88" y="157"/>
                  </a:cubicBezTo>
                  <a:cubicBezTo>
                    <a:pt x="78" y="161"/>
                    <a:pt x="67" y="164"/>
                    <a:pt x="55" y="164"/>
                  </a:cubicBezTo>
                  <a:cubicBezTo>
                    <a:pt x="45" y="164"/>
                    <a:pt x="35" y="162"/>
                    <a:pt x="24" y="159"/>
                  </a:cubicBezTo>
                  <a:cubicBezTo>
                    <a:pt x="14" y="155"/>
                    <a:pt x="6" y="151"/>
                    <a:pt x="0" y="145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26" y="130"/>
                    <a:pt x="40" y="136"/>
                    <a:pt x="55" y="136"/>
                  </a:cubicBezTo>
                  <a:cubicBezTo>
                    <a:pt x="74" y="136"/>
                    <a:pt x="84" y="127"/>
                    <a:pt x="84" y="110"/>
                  </a:cubicBezTo>
                  <a:cubicBezTo>
                    <a:pt x="84" y="102"/>
                    <a:pt x="81" y="96"/>
                    <a:pt x="76" y="92"/>
                  </a:cubicBezTo>
                  <a:cubicBezTo>
                    <a:pt x="71" y="87"/>
                    <a:pt x="65" y="85"/>
                    <a:pt x="56" y="85"/>
                  </a:cubicBezTo>
                  <a:cubicBezTo>
                    <a:pt x="51" y="85"/>
                    <a:pt x="46" y="86"/>
                    <a:pt x="40" y="88"/>
                  </a:cubicBezTo>
                  <a:cubicBezTo>
                    <a:pt x="35" y="90"/>
                    <a:pt x="30" y="92"/>
                    <a:pt x="26" y="96"/>
                  </a:cubicBezTo>
                  <a:cubicBezTo>
                    <a:pt x="6" y="96"/>
                    <a:pt x="6" y="96"/>
                    <a:pt x="6" y="9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64"/>
                    <a:pt x="40" y="64"/>
                    <a:pt x="40" y="64"/>
                  </a:cubicBezTo>
                  <a:cubicBezTo>
                    <a:pt x="47" y="59"/>
                    <a:pt x="56" y="57"/>
                    <a:pt x="66" y="57"/>
                  </a:cubicBezTo>
                  <a:cubicBezTo>
                    <a:pt x="76" y="57"/>
                    <a:pt x="85" y="59"/>
                    <a:pt x="93" y="64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8" name="iṣļïḓè">
              <a:extLst>
                <a:ext uri="{FF2B5EF4-FFF2-40B4-BE49-F238E27FC236}">
                  <a16:creationId xmlns:a16="http://schemas.microsoft.com/office/drawing/2014/main" id="{48C0A458-7BAC-432A-A482-0A292556E0F2}"/>
                </a:ext>
              </a:extLst>
            </p:cNvPr>
            <p:cNvSpPr/>
            <p:nvPr/>
          </p:nvSpPr>
          <p:spPr bwMode="auto">
            <a:xfrm>
              <a:off x="7340472" y="4991341"/>
              <a:ext cx="203683" cy="274663"/>
            </a:xfrm>
            <a:custGeom>
              <a:avLst/>
              <a:gdLst>
                <a:gd name="T0" fmla="*/ 97 w 121"/>
                <a:gd name="T1" fmla="*/ 65 h 165"/>
                <a:gd name="T2" fmla="*/ 115 w 121"/>
                <a:gd name="T3" fmla="*/ 83 h 165"/>
                <a:gd name="T4" fmla="*/ 121 w 121"/>
                <a:gd name="T5" fmla="*/ 111 h 165"/>
                <a:gd name="T6" fmla="*/ 114 w 121"/>
                <a:gd name="T7" fmla="*/ 139 h 165"/>
                <a:gd name="T8" fmla="*/ 94 w 121"/>
                <a:gd name="T9" fmla="*/ 158 h 165"/>
                <a:gd name="T10" fmla="*/ 66 w 121"/>
                <a:gd name="T11" fmla="*/ 165 h 165"/>
                <a:gd name="T12" fmla="*/ 17 w 121"/>
                <a:gd name="T13" fmla="*/ 144 h 165"/>
                <a:gd name="T14" fmla="*/ 0 w 121"/>
                <a:gd name="T15" fmla="*/ 85 h 165"/>
                <a:gd name="T16" fmla="*/ 9 w 121"/>
                <a:gd name="T17" fmla="*/ 39 h 165"/>
                <a:gd name="T18" fmla="*/ 32 w 121"/>
                <a:gd name="T19" fmla="*/ 10 h 165"/>
                <a:gd name="T20" fmla="*/ 68 w 121"/>
                <a:gd name="T21" fmla="*/ 0 h 165"/>
                <a:gd name="T22" fmla="*/ 97 w 121"/>
                <a:gd name="T23" fmla="*/ 4 h 165"/>
                <a:gd name="T24" fmla="*/ 121 w 121"/>
                <a:gd name="T25" fmla="*/ 18 h 165"/>
                <a:gd name="T26" fmla="*/ 110 w 121"/>
                <a:gd name="T27" fmla="*/ 43 h 165"/>
                <a:gd name="T28" fmla="*/ 70 w 121"/>
                <a:gd name="T29" fmla="*/ 28 h 165"/>
                <a:gd name="T30" fmla="*/ 45 w 121"/>
                <a:gd name="T31" fmla="*/ 40 h 165"/>
                <a:gd name="T32" fmla="*/ 35 w 121"/>
                <a:gd name="T33" fmla="*/ 78 h 165"/>
                <a:gd name="T34" fmla="*/ 50 w 121"/>
                <a:gd name="T35" fmla="*/ 63 h 165"/>
                <a:gd name="T36" fmla="*/ 72 w 121"/>
                <a:gd name="T37" fmla="*/ 58 h 165"/>
                <a:gd name="T38" fmla="*/ 97 w 121"/>
                <a:gd name="T39" fmla="*/ 65 h 165"/>
                <a:gd name="T40" fmla="*/ 81 w 121"/>
                <a:gd name="T41" fmla="*/ 130 h 165"/>
                <a:gd name="T42" fmla="*/ 88 w 121"/>
                <a:gd name="T43" fmla="*/ 112 h 165"/>
                <a:gd name="T44" fmla="*/ 81 w 121"/>
                <a:gd name="T45" fmla="*/ 93 h 165"/>
                <a:gd name="T46" fmla="*/ 64 w 121"/>
                <a:gd name="T47" fmla="*/ 86 h 165"/>
                <a:gd name="T48" fmla="*/ 46 w 121"/>
                <a:gd name="T49" fmla="*/ 93 h 165"/>
                <a:gd name="T50" fmla="*/ 40 w 121"/>
                <a:gd name="T51" fmla="*/ 112 h 165"/>
                <a:gd name="T52" fmla="*/ 46 w 121"/>
                <a:gd name="T53" fmla="*/ 130 h 165"/>
                <a:gd name="T54" fmla="*/ 64 w 121"/>
                <a:gd name="T55" fmla="*/ 137 h 165"/>
                <a:gd name="T56" fmla="*/ 81 w 121"/>
                <a:gd name="T57" fmla="*/ 13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1" h="165">
                  <a:moveTo>
                    <a:pt x="97" y="65"/>
                  </a:moveTo>
                  <a:cubicBezTo>
                    <a:pt x="105" y="69"/>
                    <a:pt x="111" y="75"/>
                    <a:pt x="115" y="83"/>
                  </a:cubicBezTo>
                  <a:cubicBezTo>
                    <a:pt x="119" y="91"/>
                    <a:pt x="121" y="100"/>
                    <a:pt x="121" y="111"/>
                  </a:cubicBezTo>
                  <a:cubicBezTo>
                    <a:pt x="121" y="121"/>
                    <a:pt x="119" y="130"/>
                    <a:pt x="114" y="139"/>
                  </a:cubicBezTo>
                  <a:cubicBezTo>
                    <a:pt x="109" y="147"/>
                    <a:pt x="103" y="153"/>
                    <a:pt x="94" y="158"/>
                  </a:cubicBezTo>
                  <a:cubicBezTo>
                    <a:pt x="86" y="163"/>
                    <a:pt x="76" y="165"/>
                    <a:pt x="66" y="165"/>
                  </a:cubicBezTo>
                  <a:cubicBezTo>
                    <a:pt x="45" y="165"/>
                    <a:pt x="29" y="158"/>
                    <a:pt x="17" y="144"/>
                  </a:cubicBezTo>
                  <a:cubicBezTo>
                    <a:pt x="6" y="130"/>
                    <a:pt x="0" y="111"/>
                    <a:pt x="0" y="85"/>
                  </a:cubicBezTo>
                  <a:cubicBezTo>
                    <a:pt x="0" y="67"/>
                    <a:pt x="3" y="52"/>
                    <a:pt x="9" y="39"/>
                  </a:cubicBezTo>
                  <a:cubicBezTo>
                    <a:pt x="14" y="26"/>
                    <a:pt x="22" y="17"/>
                    <a:pt x="32" y="10"/>
                  </a:cubicBezTo>
                  <a:cubicBezTo>
                    <a:pt x="42" y="3"/>
                    <a:pt x="54" y="0"/>
                    <a:pt x="68" y="0"/>
                  </a:cubicBezTo>
                  <a:cubicBezTo>
                    <a:pt x="78" y="0"/>
                    <a:pt x="88" y="1"/>
                    <a:pt x="97" y="4"/>
                  </a:cubicBezTo>
                  <a:cubicBezTo>
                    <a:pt x="107" y="8"/>
                    <a:pt x="115" y="12"/>
                    <a:pt x="121" y="18"/>
                  </a:cubicBezTo>
                  <a:cubicBezTo>
                    <a:pt x="110" y="43"/>
                    <a:pt x="110" y="43"/>
                    <a:pt x="110" y="43"/>
                  </a:cubicBezTo>
                  <a:cubicBezTo>
                    <a:pt x="96" y="33"/>
                    <a:pt x="83" y="28"/>
                    <a:pt x="70" y="28"/>
                  </a:cubicBezTo>
                  <a:cubicBezTo>
                    <a:pt x="59" y="28"/>
                    <a:pt x="51" y="32"/>
                    <a:pt x="45" y="40"/>
                  </a:cubicBezTo>
                  <a:cubicBezTo>
                    <a:pt x="39" y="49"/>
                    <a:pt x="36" y="61"/>
                    <a:pt x="35" y="78"/>
                  </a:cubicBezTo>
                  <a:cubicBezTo>
                    <a:pt x="39" y="72"/>
                    <a:pt x="44" y="67"/>
                    <a:pt x="50" y="63"/>
                  </a:cubicBezTo>
                  <a:cubicBezTo>
                    <a:pt x="57" y="60"/>
                    <a:pt x="64" y="58"/>
                    <a:pt x="72" y="58"/>
                  </a:cubicBezTo>
                  <a:cubicBezTo>
                    <a:pt x="82" y="58"/>
                    <a:pt x="90" y="60"/>
                    <a:pt x="97" y="65"/>
                  </a:cubicBezTo>
                  <a:close/>
                  <a:moveTo>
                    <a:pt x="81" y="130"/>
                  </a:moveTo>
                  <a:cubicBezTo>
                    <a:pt x="85" y="126"/>
                    <a:pt x="88" y="120"/>
                    <a:pt x="88" y="112"/>
                  </a:cubicBezTo>
                  <a:cubicBezTo>
                    <a:pt x="88" y="104"/>
                    <a:pt x="86" y="98"/>
                    <a:pt x="81" y="93"/>
                  </a:cubicBezTo>
                  <a:cubicBezTo>
                    <a:pt x="77" y="88"/>
                    <a:pt x="71" y="86"/>
                    <a:pt x="64" y="86"/>
                  </a:cubicBezTo>
                  <a:cubicBezTo>
                    <a:pt x="57" y="86"/>
                    <a:pt x="51" y="88"/>
                    <a:pt x="46" y="93"/>
                  </a:cubicBezTo>
                  <a:cubicBezTo>
                    <a:pt x="42" y="98"/>
                    <a:pt x="40" y="104"/>
                    <a:pt x="40" y="112"/>
                  </a:cubicBezTo>
                  <a:cubicBezTo>
                    <a:pt x="40" y="119"/>
                    <a:pt x="42" y="126"/>
                    <a:pt x="46" y="130"/>
                  </a:cubicBezTo>
                  <a:cubicBezTo>
                    <a:pt x="51" y="135"/>
                    <a:pt x="57" y="137"/>
                    <a:pt x="64" y="137"/>
                  </a:cubicBezTo>
                  <a:cubicBezTo>
                    <a:pt x="71" y="137"/>
                    <a:pt x="77" y="135"/>
                    <a:pt x="81" y="130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9" name="ïŝ1ïḓê">
              <a:extLst>
                <a:ext uri="{FF2B5EF4-FFF2-40B4-BE49-F238E27FC236}">
                  <a16:creationId xmlns:a16="http://schemas.microsoft.com/office/drawing/2014/main" id="{4D5B0162-709E-449A-BD3F-181C30D70CBC}"/>
                </a:ext>
              </a:extLst>
            </p:cNvPr>
            <p:cNvSpPr/>
            <p:nvPr/>
          </p:nvSpPr>
          <p:spPr bwMode="auto">
            <a:xfrm>
              <a:off x="7352816" y="4457444"/>
              <a:ext cx="194425" cy="268491"/>
            </a:xfrm>
            <a:custGeom>
              <a:avLst/>
              <a:gdLst>
                <a:gd name="T0" fmla="*/ 0 w 126"/>
                <a:gd name="T1" fmla="*/ 0 h 174"/>
                <a:gd name="T2" fmla="*/ 126 w 126"/>
                <a:gd name="T3" fmla="*/ 0 h 174"/>
                <a:gd name="T4" fmla="*/ 126 w 126"/>
                <a:gd name="T5" fmla="*/ 28 h 174"/>
                <a:gd name="T6" fmla="*/ 48 w 126"/>
                <a:gd name="T7" fmla="*/ 174 h 174"/>
                <a:gd name="T8" fmla="*/ 6 w 126"/>
                <a:gd name="T9" fmla="*/ 174 h 174"/>
                <a:gd name="T10" fmla="*/ 85 w 126"/>
                <a:gd name="T11" fmla="*/ 30 h 174"/>
                <a:gd name="T12" fmla="*/ 0 w 126"/>
                <a:gd name="T13" fmla="*/ 30 h 174"/>
                <a:gd name="T14" fmla="*/ 0 w 126"/>
                <a:gd name="T1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6" h="174">
                  <a:moveTo>
                    <a:pt x="0" y="0"/>
                  </a:moveTo>
                  <a:lnTo>
                    <a:pt x="126" y="0"/>
                  </a:lnTo>
                  <a:lnTo>
                    <a:pt x="126" y="28"/>
                  </a:lnTo>
                  <a:lnTo>
                    <a:pt x="48" y="174"/>
                  </a:lnTo>
                  <a:lnTo>
                    <a:pt x="6" y="174"/>
                  </a:lnTo>
                  <a:lnTo>
                    <a:pt x="85" y="30"/>
                  </a:lnTo>
                  <a:lnTo>
                    <a:pt x="0" y="3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0" name="íşlidé">
              <a:extLst>
                <a:ext uri="{FF2B5EF4-FFF2-40B4-BE49-F238E27FC236}">
                  <a16:creationId xmlns:a16="http://schemas.microsoft.com/office/drawing/2014/main" id="{2518939F-24C2-4D3C-AC1F-E8C594C0C59C}"/>
                </a:ext>
              </a:extLst>
            </p:cNvPr>
            <p:cNvSpPr/>
            <p:nvPr/>
          </p:nvSpPr>
          <p:spPr bwMode="auto">
            <a:xfrm>
              <a:off x="6803490" y="4991341"/>
              <a:ext cx="208313" cy="274663"/>
            </a:xfrm>
            <a:custGeom>
              <a:avLst/>
              <a:gdLst>
                <a:gd name="T0" fmla="*/ 115 w 124"/>
                <a:gd name="T1" fmla="*/ 94 h 165"/>
                <a:gd name="T2" fmla="*/ 124 w 124"/>
                <a:gd name="T3" fmla="*/ 119 h 165"/>
                <a:gd name="T4" fmla="*/ 116 w 124"/>
                <a:gd name="T5" fmla="*/ 144 h 165"/>
                <a:gd name="T6" fmla="*/ 94 w 124"/>
                <a:gd name="T7" fmla="*/ 159 h 165"/>
                <a:gd name="T8" fmla="*/ 62 w 124"/>
                <a:gd name="T9" fmla="*/ 165 h 165"/>
                <a:gd name="T10" fmla="*/ 30 w 124"/>
                <a:gd name="T11" fmla="*/ 159 h 165"/>
                <a:gd name="T12" fmla="*/ 8 w 124"/>
                <a:gd name="T13" fmla="*/ 144 h 165"/>
                <a:gd name="T14" fmla="*/ 0 w 124"/>
                <a:gd name="T15" fmla="*/ 119 h 165"/>
                <a:gd name="T16" fmla="*/ 9 w 124"/>
                <a:gd name="T17" fmla="*/ 94 h 165"/>
                <a:gd name="T18" fmla="*/ 33 w 124"/>
                <a:gd name="T19" fmla="*/ 80 h 165"/>
                <a:gd name="T20" fmla="*/ 12 w 124"/>
                <a:gd name="T21" fmla="*/ 66 h 165"/>
                <a:gd name="T22" fmla="*/ 4 w 124"/>
                <a:gd name="T23" fmla="*/ 44 h 165"/>
                <a:gd name="T24" fmla="*/ 12 w 124"/>
                <a:gd name="T25" fmla="*/ 20 h 165"/>
                <a:gd name="T26" fmla="*/ 32 w 124"/>
                <a:gd name="T27" fmla="*/ 5 h 165"/>
                <a:gd name="T28" fmla="*/ 62 w 124"/>
                <a:gd name="T29" fmla="*/ 0 h 165"/>
                <a:gd name="T30" fmla="*/ 92 w 124"/>
                <a:gd name="T31" fmla="*/ 5 h 165"/>
                <a:gd name="T32" fmla="*/ 113 w 124"/>
                <a:gd name="T33" fmla="*/ 20 h 165"/>
                <a:gd name="T34" fmla="*/ 120 w 124"/>
                <a:gd name="T35" fmla="*/ 44 h 165"/>
                <a:gd name="T36" fmla="*/ 112 w 124"/>
                <a:gd name="T37" fmla="*/ 66 h 165"/>
                <a:gd name="T38" fmla="*/ 91 w 124"/>
                <a:gd name="T39" fmla="*/ 80 h 165"/>
                <a:gd name="T40" fmla="*/ 115 w 124"/>
                <a:gd name="T41" fmla="*/ 94 h 165"/>
                <a:gd name="T42" fmla="*/ 83 w 124"/>
                <a:gd name="T43" fmla="*/ 132 h 165"/>
                <a:gd name="T44" fmla="*/ 91 w 124"/>
                <a:gd name="T45" fmla="*/ 117 h 165"/>
                <a:gd name="T46" fmla="*/ 83 w 124"/>
                <a:gd name="T47" fmla="*/ 101 h 165"/>
                <a:gd name="T48" fmla="*/ 62 w 124"/>
                <a:gd name="T49" fmla="*/ 93 h 165"/>
                <a:gd name="T50" fmla="*/ 41 w 124"/>
                <a:gd name="T51" fmla="*/ 101 h 165"/>
                <a:gd name="T52" fmla="*/ 33 w 124"/>
                <a:gd name="T53" fmla="*/ 117 h 165"/>
                <a:gd name="T54" fmla="*/ 41 w 124"/>
                <a:gd name="T55" fmla="*/ 132 h 165"/>
                <a:gd name="T56" fmla="*/ 62 w 124"/>
                <a:gd name="T57" fmla="*/ 138 h 165"/>
                <a:gd name="T58" fmla="*/ 83 w 124"/>
                <a:gd name="T59" fmla="*/ 132 h 165"/>
                <a:gd name="T60" fmla="*/ 44 w 124"/>
                <a:gd name="T61" fmla="*/ 32 h 165"/>
                <a:gd name="T62" fmla="*/ 37 w 124"/>
                <a:gd name="T63" fmla="*/ 47 h 165"/>
                <a:gd name="T64" fmla="*/ 44 w 124"/>
                <a:gd name="T65" fmla="*/ 63 h 165"/>
                <a:gd name="T66" fmla="*/ 62 w 124"/>
                <a:gd name="T67" fmla="*/ 71 h 165"/>
                <a:gd name="T68" fmla="*/ 80 w 124"/>
                <a:gd name="T69" fmla="*/ 63 h 165"/>
                <a:gd name="T70" fmla="*/ 87 w 124"/>
                <a:gd name="T71" fmla="*/ 47 h 165"/>
                <a:gd name="T72" fmla="*/ 80 w 124"/>
                <a:gd name="T73" fmla="*/ 32 h 165"/>
                <a:gd name="T74" fmla="*/ 62 w 124"/>
                <a:gd name="T75" fmla="*/ 27 h 165"/>
                <a:gd name="T76" fmla="*/ 44 w 124"/>
                <a:gd name="T77" fmla="*/ 32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4" h="165">
                  <a:moveTo>
                    <a:pt x="115" y="94"/>
                  </a:moveTo>
                  <a:cubicBezTo>
                    <a:pt x="121" y="101"/>
                    <a:pt x="124" y="109"/>
                    <a:pt x="124" y="119"/>
                  </a:cubicBezTo>
                  <a:cubicBezTo>
                    <a:pt x="124" y="129"/>
                    <a:pt x="121" y="137"/>
                    <a:pt x="116" y="144"/>
                  </a:cubicBezTo>
                  <a:cubicBezTo>
                    <a:pt x="111" y="150"/>
                    <a:pt x="104" y="156"/>
                    <a:pt x="94" y="159"/>
                  </a:cubicBezTo>
                  <a:cubicBezTo>
                    <a:pt x="85" y="163"/>
                    <a:pt x="74" y="165"/>
                    <a:pt x="62" y="165"/>
                  </a:cubicBezTo>
                  <a:cubicBezTo>
                    <a:pt x="50" y="165"/>
                    <a:pt x="39" y="163"/>
                    <a:pt x="30" y="159"/>
                  </a:cubicBezTo>
                  <a:cubicBezTo>
                    <a:pt x="21" y="156"/>
                    <a:pt x="13" y="150"/>
                    <a:pt x="8" y="144"/>
                  </a:cubicBezTo>
                  <a:cubicBezTo>
                    <a:pt x="3" y="137"/>
                    <a:pt x="0" y="129"/>
                    <a:pt x="0" y="119"/>
                  </a:cubicBezTo>
                  <a:cubicBezTo>
                    <a:pt x="0" y="109"/>
                    <a:pt x="3" y="101"/>
                    <a:pt x="9" y="94"/>
                  </a:cubicBezTo>
                  <a:cubicBezTo>
                    <a:pt x="15" y="87"/>
                    <a:pt x="23" y="83"/>
                    <a:pt x="33" y="80"/>
                  </a:cubicBezTo>
                  <a:cubicBezTo>
                    <a:pt x="24" y="77"/>
                    <a:pt x="17" y="72"/>
                    <a:pt x="12" y="66"/>
                  </a:cubicBezTo>
                  <a:cubicBezTo>
                    <a:pt x="7" y="60"/>
                    <a:pt x="4" y="52"/>
                    <a:pt x="4" y="44"/>
                  </a:cubicBezTo>
                  <a:cubicBezTo>
                    <a:pt x="4" y="35"/>
                    <a:pt x="7" y="27"/>
                    <a:pt x="12" y="20"/>
                  </a:cubicBezTo>
                  <a:cubicBezTo>
                    <a:pt x="17" y="14"/>
                    <a:pt x="24" y="9"/>
                    <a:pt x="32" y="5"/>
                  </a:cubicBezTo>
                  <a:cubicBezTo>
                    <a:pt x="41" y="2"/>
                    <a:pt x="51" y="0"/>
                    <a:pt x="62" y="0"/>
                  </a:cubicBezTo>
                  <a:cubicBezTo>
                    <a:pt x="73" y="0"/>
                    <a:pt x="83" y="2"/>
                    <a:pt x="92" y="5"/>
                  </a:cubicBezTo>
                  <a:cubicBezTo>
                    <a:pt x="101" y="9"/>
                    <a:pt x="108" y="14"/>
                    <a:pt x="113" y="20"/>
                  </a:cubicBezTo>
                  <a:cubicBezTo>
                    <a:pt x="118" y="27"/>
                    <a:pt x="120" y="35"/>
                    <a:pt x="120" y="44"/>
                  </a:cubicBezTo>
                  <a:cubicBezTo>
                    <a:pt x="120" y="52"/>
                    <a:pt x="118" y="60"/>
                    <a:pt x="112" y="66"/>
                  </a:cubicBezTo>
                  <a:cubicBezTo>
                    <a:pt x="107" y="73"/>
                    <a:pt x="100" y="77"/>
                    <a:pt x="91" y="80"/>
                  </a:cubicBezTo>
                  <a:cubicBezTo>
                    <a:pt x="102" y="83"/>
                    <a:pt x="110" y="88"/>
                    <a:pt x="115" y="94"/>
                  </a:cubicBezTo>
                  <a:close/>
                  <a:moveTo>
                    <a:pt x="83" y="132"/>
                  </a:moveTo>
                  <a:cubicBezTo>
                    <a:pt x="89" y="129"/>
                    <a:pt x="91" y="123"/>
                    <a:pt x="91" y="117"/>
                  </a:cubicBezTo>
                  <a:cubicBezTo>
                    <a:pt x="91" y="110"/>
                    <a:pt x="89" y="105"/>
                    <a:pt x="83" y="101"/>
                  </a:cubicBezTo>
                  <a:cubicBezTo>
                    <a:pt x="78" y="97"/>
                    <a:pt x="71" y="94"/>
                    <a:pt x="62" y="93"/>
                  </a:cubicBezTo>
                  <a:cubicBezTo>
                    <a:pt x="53" y="94"/>
                    <a:pt x="46" y="97"/>
                    <a:pt x="41" y="101"/>
                  </a:cubicBezTo>
                  <a:cubicBezTo>
                    <a:pt x="36" y="105"/>
                    <a:pt x="33" y="110"/>
                    <a:pt x="33" y="117"/>
                  </a:cubicBezTo>
                  <a:cubicBezTo>
                    <a:pt x="33" y="123"/>
                    <a:pt x="36" y="129"/>
                    <a:pt x="41" y="132"/>
                  </a:cubicBezTo>
                  <a:cubicBezTo>
                    <a:pt x="46" y="136"/>
                    <a:pt x="53" y="138"/>
                    <a:pt x="62" y="138"/>
                  </a:cubicBezTo>
                  <a:cubicBezTo>
                    <a:pt x="71" y="138"/>
                    <a:pt x="78" y="136"/>
                    <a:pt x="83" y="132"/>
                  </a:cubicBezTo>
                  <a:close/>
                  <a:moveTo>
                    <a:pt x="44" y="32"/>
                  </a:moveTo>
                  <a:cubicBezTo>
                    <a:pt x="40" y="36"/>
                    <a:pt x="37" y="41"/>
                    <a:pt x="37" y="47"/>
                  </a:cubicBezTo>
                  <a:cubicBezTo>
                    <a:pt x="37" y="54"/>
                    <a:pt x="40" y="59"/>
                    <a:pt x="44" y="63"/>
                  </a:cubicBezTo>
                  <a:cubicBezTo>
                    <a:pt x="49" y="67"/>
                    <a:pt x="55" y="69"/>
                    <a:pt x="62" y="71"/>
                  </a:cubicBezTo>
                  <a:cubicBezTo>
                    <a:pt x="70" y="69"/>
                    <a:pt x="76" y="67"/>
                    <a:pt x="80" y="63"/>
                  </a:cubicBezTo>
                  <a:cubicBezTo>
                    <a:pt x="85" y="59"/>
                    <a:pt x="87" y="54"/>
                    <a:pt x="87" y="47"/>
                  </a:cubicBezTo>
                  <a:cubicBezTo>
                    <a:pt x="87" y="41"/>
                    <a:pt x="85" y="36"/>
                    <a:pt x="80" y="32"/>
                  </a:cubicBezTo>
                  <a:cubicBezTo>
                    <a:pt x="76" y="29"/>
                    <a:pt x="70" y="27"/>
                    <a:pt x="62" y="27"/>
                  </a:cubicBezTo>
                  <a:cubicBezTo>
                    <a:pt x="55" y="27"/>
                    <a:pt x="49" y="29"/>
                    <a:pt x="44" y="32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1" name="iṣḷíḍè">
              <a:extLst>
                <a:ext uri="{FF2B5EF4-FFF2-40B4-BE49-F238E27FC236}">
                  <a16:creationId xmlns:a16="http://schemas.microsoft.com/office/drawing/2014/main" id="{7601D53F-D3E1-477A-8C5E-0F8A9F32718D}"/>
                </a:ext>
              </a:extLst>
            </p:cNvPr>
            <p:cNvSpPr/>
            <p:nvPr/>
          </p:nvSpPr>
          <p:spPr bwMode="auto">
            <a:xfrm>
              <a:off x="6820463" y="4448186"/>
              <a:ext cx="175908" cy="271577"/>
            </a:xfrm>
            <a:custGeom>
              <a:avLst/>
              <a:gdLst>
                <a:gd name="T0" fmla="*/ 76 w 114"/>
                <a:gd name="T1" fmla="*/ 145 h 176"/>
                <a:gd name="T2" fmla="*/ 114 w 114"/>
                <a:gd name="T3" fmla="*/ 145 h 176"/>
                <a:gd name="T4" fmla="*/ 114 w 114"/>
                <a:gd name="T5" fmla="*/ 176 h 176"/>
                <a:gd name="T6" fmla="*/ 0 w 114"/>
                <a:gd name="T7" fmla="*/ 176 h 176"/>
                <a:gd name="T8" fmla="*/ 0 w 114"/>
                <a:gd name="T9" fmla="*/ 145 h 176"/>
                <a:gd name="T10" fmla="*/ 37 w 114"/>
                <a:gd name="T11" fmla="*/ 145 h 176"/>
                <a:gd name="T12" fmla="*/ 37 w 114"/>
                <a:gd name="T13" fmla="*/ 44 h 176"/>
                <a:gd name="T14" fmla="*/ 2 w 114"/>
                <a:gd name="T15" fmla="*/ 64 h 176"/>
                <a:gd name="T16" fmla="*/ 2 w 114"/>
                <a:gd name="T17" fmla="*/ 31 h 176"/>
                <a:gd name="T18" fmla="*/ 53 w 114"/>
                <a:gd name="T19" fmla="*/ 0 h 176"/>
                <a:gd name="T20" fmla="*/ 76 w 114"/>
                <a:gd name="T21" fmla="*/ 0 h 176"/>
                <a:gd name="T22" fmla="*/ 76 w 114"/>
                <a:gd name="T23" fmla="*/ 14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4" h="176">
                  <a:moveTo>
                    <a:pt x="76" y="145"/>
                  </a:moveTo>
                  <a:lnTo>
                    <a:pt x="114" y="145"/>
                  </a:lnTo>
                  <a:lnTo>
                    <a:pt x="114" y="176"/>
                  </a:lnTo>
                  <a:lnTo>
                    <a:pt x="0" y="176"/>
                  </a:lnTo>
                  <a:lnTo>
                    <a:pt x="0" y="145"/>
                  </a:lnTo>
                  <a:lnTo>
                    <a:pt x="37" y="145"/>
                  </a:lnTo>
                  <a:lnTo>
                    <a:pt x="37" y="44"/>
                  </a:lnTo>
                  <a:lnTo>
                    <a:pt x="2" y="64"/>
                  </a:lnTo>
                  <a:lnTo>
                    <a:pt x="2" y="31"/>
                  </a:lnTo>
                  <a:lnTo>
                    <a:pt x="53" y="0"/>
                  </a:lnTo>
                  <a:lnTo>
                    <a:pt x="76" y="0"/>
                  </a:lnTo>
                  <a:lnTo>
                    <a:pt x="76" y="145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2" name="îšḻídè">
              <a:extLst>
                <a:ext uri="{FF2B5EF4-FFF2-40B4-BE49-F238E27FC236}">
                  <a16:creationId xmlns:a16="http://schemas.microsoft.com/office/drawing/2014/main" id="{64FFD88C-AC18-4187-B60E-C48221190B73}"/>
                </a:ext>
              </a:extLst>
            </p:cNvPr>
            <p:cNvSpPr/>
            <p:nvPr/>
          </p:nvSpPr>
          <p:spPr bwMode="auto">
            <a:xfrm>
              <a:off x="2894936" y="1578108"/>
              <a:ext cx="1439669" cy="1117170"/>
            </a:xfrm>
            <a:custGeom>
              <a:avLst/>
              <a:gdLst>
                <a:gd name="T0" fmla="*/ 856 w 860"/>
                <a:gd name="T1" fmla="*/ 298 h 668"/>
                <a:gd name="T2" fmla="*/ 710 w 860"/>
                <a:gd name="T3" fmla="*/ 169 h 668"/>
                <a:gd name="T4" fmla="*/ 710 w 860"/>
                <a:gd name="T5" fmla="*/ 162 h 668"/>
                <a:gd name="T6" fmla="*/ 531 w 860"/>
                <a:gd name="T7" fmla="*/ 6 h 668"/>
                <a:gd name="T8" fmla="*/ 409 w 860"/>
                <a:gd name="T9" fmla="*/ 72 h 668"/>
                <a:gd name="T10" fmla="*/ 289 w 860"/>
                <a:gd name="T11" fmla="*/ 27 h 668"/>
                <a:gd name="T12" fmla="*/ 144 w 860"/>
                <a:gd name="T13" fmla="*/ 184 h 668"/>
                <a:gd name="T14" fmla="*/ 134 w 860"/>
                <a:gd name="T15" fmla="*/ 184 h 668"/>
                <a:gd name="T16" fmla="*/ 5 w 860"/>
                <a:gd name="T17" fmla="*/ 331 h 668"/>
                <a:gd name="T18" fmla="*/ 97 w 860"/>
                <a:gd name="T19" fmla="*/ 452 h 668"/>
                <a:gd name="T20" fmla="*/ 92 w 860"/>
                <a:gd name="T21" fmla="*/ 502 h 668"/>
                <a:gd name="T22" fmla="*/ 271 w 860"/>
                <a:gd name="T23" fmla="*/ 663 h 668"/>
                <a:gd name="T24" fmla="*/ 350 w 860"/>
                <a:gd name="T25" fmla="*/ 639 h 668"/>
                <a:gd name="T26" fmla="*/ 363 w 860"/>
                <a:gd name="T27" fmla="*/ 646 h 668"/>
                <a:gd name="T28" fmla="*/ 439 w 860"/>
                <a:gd name="T29" fmla="*/ 664 h 668"/>
                <a:gd name="T30" fmla="*/ 550 w 860"/>
                <a:gd name="T31" fmla="*/ 589 h 668"/>
                <a:gd name="T32" fmla="*/ 630 w 860"/>
                <a:gd name="T33" fmla="*/ 606 h 668"/>
                <a:gd name="T34" fmla="*/ 770 w 860"/>
                <a:gd name="T35" fmla="*/ 447 h 668"/>
                <a:gd name="T36" fmla="*/ 768 w 860"/>
                <a:gd name="T37" fmla="*/ 437 h 668"/>
                <a:gd name="T38" fmla="*/ 856 w 860"/>
                <a:gd name="T39" fmla="*/ 298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60" h="668">
                  <a:moveTo>
                    <a:pt x="856" y="298"/>
                  </a:moveTo>
                  <a:cubicBezTo>
                    <a:pt x="851" y="223"/>
                    <a:pt x="786" y="165"/>
                    <a:pt x="710" y="169"/>
                  </a:cubicBezTo>
                  <a:cubicBezTo>
                    <a:pt x="710" y="167"/>
                    <a:pt x="710" y="165"/>
                    <a:pt x="710" y="162"/>
                  </a:cubicBezTo>
                  <a:cubicBezTo>
                    <a:pt x="704" y="70"/>
                    <a:pt x="624" y="0"/>
                    <a:pt x="531" y="6"/>
                  </a:cubicBezTo>
                  <a:cubicBezTo>
                    <a:pt x="481" y="9"/>
                    <a:pt x="437" y="35"/>
                    <a:pt x="409" y="72"/>
                  </a:cubicBezTo>
                  <a:cubicBezTo>
                    <a:pt x="378" y="41"/>
                    <a:pt x="335" y="24"/>
                    <a:pt x="289" y="27"/>
                  </a:cubicBezTo>
                  <a:cubicBezTo>
                    <a:pt x="206" y="32"/>
                    <a:pt x="143" y="102"/>
                    <a:pt x="144" y="184"/>
                  </a:cubicBezTo>
                  <a:cubicBezTo>
                    <a:pt x="141" y="183"/>
                    <a:pt x="137" y="184"/>
                    <a:pt x="134" y="184"/>
                  </a:cubicBezTo>
                  <a:cubicBezTo>
                    <a:pt x="57" y="189"/>
                    <a:pt x="0" y="255"/>
                    <a:pt x="5" y="331"/>
                  </a:cubicBezTo>
                  <a:cubicBezTo>
                    <a:pt x="9" y="388"/>
                    <a:pt x="46" y="435"/>
                    <a:pt x="97" y="452"/>
                  </a:cubicBezTo>
                  <a:cubicBezTo>
                    <a:pt x="93" y="468"/>
                    <a:pt x="91" y="485"/>
                    <a:pt x="92" y="502"/>
                  </a:cubicBezTo>
                  <a:cubicBezTo>
                    <a:pt x="97" y="596"/>
                    <a:pt x="177" y="668"/>
                    <a:pt x="271" y="663"/>
                  </a:cubicBezTo>
                  <a:cubicBezTo>
                    <a:pt x="300" y="662"/>
                    <a:pt x="327" y="653"/>
                    <a:pt x="350" y="639"/>
                  </a:cubicBezTo>
                  <a:cubicBezTo>
                    <a:pt x="358" y="643"/>
                    <a:pt x="363" y="646"/>
                    <a:pt x="363" y="646"/>
                  </a:cubicBezTo>
                  <a:cubicBezTo>
                    <a:pt x="385" y="659"/>
                    <a:pt x="411" y="665"/>
                    <a:pt x="439" y="664"/>
                  </a:cubicBezTo>
                  <a:cubicBezTo>
                    <a:pt x="488" y="660"/>
                    <a:pt x="529" y="631"/>
                    <a:pt x="550" y="589"/>
                  </a:cubicBezTo>
                  <a:cubicBezTo>
                    <a:pt x="574" y="602"/>
                    <a:pt x="601" y="608"/>
                    <a:pt x="630" y="606"/>
                  </a:cubicBezTo>
                  <a:cubicBezTo>
                    <a:pt x="713" y="601"/>
                    <a:pt x="775" y="530"/>
                    <a:pt x="770" y="447"/>
                  </a:cubicBezTo>
                  <a:cubicBezTo>
                    <a:pt x="769" y="444"/>
                    <a:pt x="769" y="440"/>
                    <a:pt x="768" y="437"/>
                  </a:cubicBezTo>
                  <a:cubicBezTo>
                    <a:pt x="823" y="415"/>
                    <a:pt x="860" y="360"/>
                    <a:pt x="856" y="298"/>
                  </a:cubicBezTo>
                  <a:close/>
                </a:path>
              </a:pathLst>
            </a:custGeom>
            <a:solidFill>
              <a:srgbClr val="8CA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3" name="îṧḷïḓe">
              <a:extLst>
                <a:ext uri="{FF2B5EF4-FFF2-40B4-BE49-F238E27FC236}">
                  <a16:creationId xmlns:a16="http://schemas.microsoft.com/office/drawing/2014/main" id="{464C3529-D49F-4A73-8F85-EB1DC2E19871}"/>
                </a:ext>
              </a:extLst>
            </p:cNvPr>
            <p:cNvSpPr/>
            <p:nvPr/>
          </p:nvSpPr>
          <p:spPr bwMode="auto">
            <a:xfrm>
              <a:off x="3209719" y="2716881"/>
              <a:ext cx="206769" cy="205227"/>
            </a:xfrm>
            <a:custGeom>
              <a:avLst/>
              <a:gdLst>
                <a:gd name="T0" fmla="*/ 1 w 123"/>
                <a:gd name="T1" fmla="*/ 64 h 123"/>
                <a:gd name="T2" fmla="*/ 58 w 123"/>
                <a:gd name="T3" fmla="*/ 1 h 123"/>
                <a:gd name="T4" fmla="*/ 122 w 123"/>
                <a:gd name="T5" fmla="*/ 58 h 123"/>
                <a:gd name="T6" fmla="*/ 64 w 123"/>
                <a:gd name="T7" fmla="*/ 122 h 123"/>
                <a:gd name="T8" fmla="*/ 1 w 123"/>
                <a:gd name="T9" fmla="*/ 64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123">
                  <a:moveTo>
                    <a:pt x="1" y="64"/>
                  </a:moveTo>
                  <a:cubicBezTo>
                    <a:pt x="0" y="31"/>
                    <a:pt x="25" y="3"/>
                    <a:pt x="58" y="1"/>
                  </a:cubicBezTo>
                  <a:cubicBezTo>
                    <a:pt x="92" y="0"/>
                    <a:pt x="120" y="25"/>
                    <a:pt x="122" y="58"/>
                  </a:cubicBezTo>
                  <a:cubicBezTo>
                    <a:pt x="123" y="92"/>
                    <a:pt x="98" y="120"/>
                    <a:pt x="64" y="122"/>
                  </a:cubicBezTo>
                  <a:cubicBezTo>
                    <a:pt x="31" y="123"/>
                    <a:pt x="3" y="98"/>
                    <a:pt x="1" y="64"/>
                  </a:cubicBezTo>
                  <a:close/>
                </a:path>
              </a:pathLst>
            </a:custGeom>
            <a:solidFill>
              <a:srgbClr val="8CA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4" name="ïsḻiḑè">
              <a:extLst>
                <a:ext uri="{FF2B5EF4-FFF2-40B4-BE49-F238E27FC236}">
                  <a16:creationId xmlns:a16="http://schemas.microsoft.com/office/drawing/2014/main" id="{A820DE99-23B9-4CFC-8823-AF3A8183EE54}"/>
                </a:ext>
              </a:extLst>
            </p:cNvPr>
            <p:cNvSpPr/>
            <p:nvPr/>
          </p:nvSpPr>
          <p:spPr bwMode="auto">
            <a:xfrm>
              <a:off x="3397971" y="2925193"/>
              <a:ext cx="145047" cy="143504"/>
            </a:xfrm>
            <a:custGeom>
              <a:avLst/>
              <a:gdLst>
                <a:gd name="T0" fmla="*/ 1 w 87"/>
                <a:gd name="T1" fmla="*/ 45 h 86"/>
                <a:gd name="T2" fmla="*/ 41 w 87"/>
                <a:gd name="T3" fmla="*/ 1 h 86"/>
                <a:gd name="T4" fmla="*/ 86 w 87"/>
                <a:gd name="T5" fmla="*/ 41 h 86"/>
                <a:gd name="T6" fmla="*/ 46 w 87"/>
                <a:gd name="T7" fmla="*/ 85 h 86"/>
                <a:gd name="T8" fmla="*/ 1 w 87"/>
                <a:gd name="T9" fmla="*/ 4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6">
                  <a:moveTo>
                    <a:pt x="1" y="45"/>
                  </a:moveTo>
                  <a:cubicBezTo>
                    <a:pt x="0" y="22"/>
                    <a:pt x="18" y="2"/>
                    <a:pt x="41" y="1"/>
                  </a:cubicBezTo>
                  <a:cubicBezTo>
                    <a:pt x="65" y="0"/>
                    <a:pt x="84" y="18"/>
                    <a:pt x="86" y="41"/>
                  </a:cubicBezTo>
                  <a:cubicBezTo>
                    <a:pt x="87" y="64"/>
                    <a:pt x="69" y="84"/>
                    <a:pt x="46" y="85"/>
                  </a:cubicBezTo>
                  <a:cubicBezTo>
                    <a:pt x="22" y="86"/>
                    <a:pt x="2" y="69"/>
                    <a:pt x="1" y="45"/>
                  </a:cubicBezTo>
                  <a:close/>
                </a:path>
              </a:pathLst>
            </a:custGeom>
            <a:solidFill>
              <a:srgbClr val="8CA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5" name="isliďe">
              <a:extLst>
                <a:ext uri="{FF2B5EF4-FFF2-40B4-BE49-F238E27FC236}">
                  <a16:creationId xmlns:a16="http://schemas.microsoft.com/office/drawing/2014/main" id="{0199D6BC-C8DC-4C1C-9893-67CC5F37EC5A}"/>
                </a:ext>
              </a:extLst>
            </p:cNvPr>
            <p:cNvSpPr/>
            <p:nvPr/>
          </p:nvSpPr>
          <p:spPr bwMode="auto">
            <a:xfrm>
              <a:off x="3126394" y="1942268"/>
              <a:ext cx="287008" cy="370333"/>
            </a:xfrm>
            <a:custGeom>
              <a:avLst/>
              <a:gdLst>
                <a:gd name="T0" fmla="*/ 186 w 186"/>
                <a:gd name="T1" fmla="*/ 158 h 240"/>
                <a:gd name="T2" fmla="*/ 183 w 186"/>
                <a:gd name="T3" fmla="*/ 198 h 240"/>
                <a:gd name="T4" fmla="*/ 151 w 186"/>
                <a:gd name="T5" fmla="*/ 196 h 240"/>
                <a:gd name="T6" fmla="*/ 148 w 186"/>
                <a:gd name="T7" fmla="*/ 240 h 240"/>
                <a:gd name="T8" fmla="*/ 97 w 186"/>
                <a:gd name="T9" fmla="*/ 236 h 240"/>
                <a:gd name="T10" fmla="*/ 100 w 186"/>
                <a:gd name="T11" fmla="*/ 193 h 240"/>
                <a:gd name="T12" fmla="*/ 0 w 186"/>
                <a:gd name="T13" fmla="*/ 186 h 240"/>
                <a:gd name="T14" fmla="*/ 3 w 186"/>
                <a:gd name="T15" fmla="*/ 149 h 240"/>
                <a:gd name="T16" fmla="*/ 122 w 186"/>
                <a:gd name="T17" fmla="*/ 0 h 240"/>
                <a:gd name="T18" fmla="*/ 163 w 186"/>
                <a:gd name="T19" fmla="*/ 3 h 240"/>
                <a:gd name="T20" fmla="*/ 153 w 186"/>
                <a:gd name="T21" fmla="*/ 156 h 240"/>
                <a:gd name="T22" fmla="*/ 186 w 186"/>
                <a:gd name="T23" fmla="*/ 158 h 240"/>
                <a:gd name="T24" fmla="*/ 51 w 186"/>
                <a:gd name="T25" fmla="*/ 150 h 240"/>
                <a:gd name="T26" fmla="*/ 102 w 186"/>
                <a:gd name="T27" fmla="*/ 153 h 240"/>
                <a:gd name="T28" fmla="*/ 107 w 186"/>
                <a:gd name="T29" fmla="*/ 79 h 240"/>
                <a:gd name="T30" fmla="*/ 51 w 186"/>
                <a:gd name="T31" fmla="*/ 15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6" h="240">
                  <a:moveTo>
                    <a:pt x="186" y="158"/>
                  </a:moveTo>
                  <a:lnTo>
                    <a:pt x="183" y="198"/>
                  </a:lnTo>
                  <a:lnTo>
                    <a:pt x="151" y="196"/>
                  </a:lnTo>
                  <a:lnTo>
                    <a:pt x="148" y="240"/>
                  </a:lnTo>
                  <a:lnTo>
                    <a:pt x="97" y="236"/>
                  </a:lnTo>
                  <a:lnTo>
                    <a:pt x="100" y="193"/>
                  </a:lnTo>
                  <a:lnTo>
                    <a:pt x="0" y="186"/>
                  </a:lnTo>
                  <a:lnTo>
                    <a:pt x="3" y="149"/>
                  </a:lnTo>
                  <a:lnTo>
                    <a:pt x="122" y="0"/>
                  </a:lnTo>
                  <a:lnTo>
                    <a:pt x="163" y="3"/>
                  </a:lnTo>
                  <a:lnTo>
                    <a:pt x="153" y="156"/>
                  </a:lnTo>
                  <a:lnTo>
                    <a:pt x="186" y="158"/>
                  </a:lnTo>
                  <a:close/>
                  <a:moveTo>
                    <a:pt x="51" y="150"/>
                  </a:moveTo>
                  <a:lnTo>
                    <a:pt x="102" y="153"/>
                  </a:lnTo>
                  <a:lnTo>
                    <a:pt x="107" y="79"/>
                  </a:lnTo>
                  <a:lnTo>
                    <a:pt x="51" y="150"/>
                  </a:ln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6" name="ïŝḻíde">
              <a:extLst>
                <a:ext uri="{FF2B5EF4-FFF2-40B4-BE49-F238E27FC236}">
                  <a16:creationId xmlns:a16="http://schemas.microsoft.com/office/drawing/2014/main" id="{BF6A36FD-7B23-41E2-896B-BFAEE4F534F5}"/>
                </a:ext>
              </a:extLst>
            </p:cNvPr>
            <p:cNvSpPr/>
            <p:nvPr/>
          </p:nvSpPr>
          <p:spPr bwMode="auto">
            <a:xfrm>
              <a:off x="3675721" y="1803394"/>
              <a:ext cx="296266" cy="370333"/>
            </a:xfrm>
            <a:custGeom>
              <a:avLst/>
              <a:gdLst>
                <a:gd name="T0" fmla="*/ 158 w 177"/>
                <a:gd name="T1" fmla="*/ 114 h 221"/>
                <a:gd name="T2" fmla="*/ 175 w 177"/>
                <a:gd name="T3" fmla="*/ 145 h 221"/>
                <a:gd name="T4" fmla="*/ 170 w 177"/>
                <a:gd name="T5" fmla="*/ 179 h 221"/>
                <a:gd name="T6" fmla="*/ 145 w 177"/>
                <a:gd name="T7" fmla="*/ 204 h 221"/>
                <a:gd name="T8" fmla="*/ 105 w 177"/>
                <a:gd name="T9" fmla="*/ 218 h 221"/>
                <a:gd name="T10" fmla="*/ 61 w 177"/>
                <a:gd name="T11" fmla="*/ 218 h 221"/>
                <a:gd name="T12" fmla="*/ 29 w 177"/>
                <a:gd name="T13" fmla="*/ 203 h 221"/>
                <a:gd name="T14" fmla="*/ 14 w 177"/>
                <a:gd name="T15" fmla="*/ 172 h 221"/>
                <a:gd name="T16" fmla="*/ 19 w 177"/>
                <a:gd name="T17" fmla="*/ 138 h 221"/>
                <a:gd name="T18" fmla="*/ 48 w 177"/>
                <a:gd name="T19" fmla="*/ 114 h 221"/>
                <a:gd name="T20" fmla="*/ 17 w 177"/>
                <a:gd name="T21" fmla="*/ 100 h 221"/>
                <a:gd name="T22" fmla="*/ 2 w 177"/>
                <a:gd name="T23" fmla="*/ 73 h 221"/>
                <a:gd name="T24" fmla="*/ 7 w 177"/>
                <a:gd name="T25" fmla="*/ 41 h 221"/>
                <a:gd name="T26" fmla="*/ 30 w 177"/>
                <a:gd name="T27" fmla="*/ 16 h 221"/>
                <a:gd name="T28" fmla="*/ 68 w 177"/>
                <a:gd name="T29" fmla="*/ 3 h 221"/>
                <a:gd name="T30" fmla="*/ 108 w 177"/>
                <a:gd name="T31" fmla="*/ 3 h 221"/>
                <a:gd name="T32" fmla="*/ 138 w 177"/>
                <a:gd name="T33" fmla="*/ 19 h 221"/>
                <a:gd name="T34" fmla="*/ 153 w 177"/>
                <a:gd name="T35" fmla="*/ 47 h 221"/>
                <a:gd name="T36" fmla="*/ 148 w 177"/>
                <a:gd name="T37" fmla="*/ 79 h 221"/>
                <a:gd name="T38" fmla="*/ 124 w 177"/>
                <a:gd name="T39" fmla="*/ 101 h 221"/>
                <a:gd name="T40" fmla="*/ 158 w 177"/>
                <a:gd name="T41" fmla="*/ 114 h 221"/>
                <a:gd name="T42" fmla="*/ 125 w 177"/>
                <a:gd name="T43" fmla="*/ 171 h 221"/>
                <a:gd name="T44" fmla="*/ 132 w 177"/>
                <a:gd name="T45" fmla="*/ 149 h 221"/>
                <a:gd name="T46" fmla="*/ 118 w 177"/>
                <a:gd name="T47" fmla="*/ 130 h 221"/>
                <a:gd name="T48" fmla="*/ 88 w 177"/>
                <a:gd name="T49" fmla="*/ 124 h 221"/>
                <a:gd name="T50" fmla="*/ 63 w 177"/>
                <a:gd name="T51" fmla="*/ 139 h 221"/>
                <a:gd name="T52" fmla="*/ 56 w 177"/>
                <a:gd name="T53" fmla="*/ 162 h 221"/>
                <a:gd name="T54" fmla="*/ 70 w 177"/>
                <a:gd name="T55" fmla="*/ 181 h 221"/>
                <a:gd name="T56" fmla="*/ 99 w 177"/>
                <a:gd name="T57" fmla="*/ 183 h 221"/>
                <a:gd name="T58" fmla="*/ 125 w 177"/>
                <a:gd name="T59" fmla="*/ 171 h 221"/>
                <a:gd name="T60" fmla="*/ 52 w 177"/>
                <a:gd name="T61" fmla="*/ 49 h 221"/>
                <a:gd name="T62" fmla="*/ 46 w 177"/>
                <a:gd name="T63" fmla="*/ 70 h 221"/>
                <a:gd name="T64" fmla="*/ 58 w 177"/>
                <a:gd name="T65" fmla="*/ 89 h 221"/>
                <a:gd name="T66" fmla="*/ 84 w 177"/>
                <a:gd name="T67" fmla="*/ 95 h 221"/>
                <a:gd name="T68" fmla="*/ 105 w 177"/>
                <a:gd name="T69" fmla="*/ 81 h 221"/>
                <a:gd name="T70" fmla="*/ 111 w 177"/>
                <a:gd name="T71" fmla="*/ 59 h 221"/>
                <a:gd name="T72" fmla="*/ 99 w 177"/>
                <a:gd name="T73" fmla="*/ 41 h 221"/>
                <a:gd name="T74" fmla="*/ 74 w 177"/>
                <a:gd name="T75" fmla="*/ 38 h 221"/>
                <a:gd name="T76" fmla="*/ 52 w 177"/>
                <a:gd name="T77" fmla="*/ 49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7" h="221">
                  <a:moveTo>
                    <a:pt x="158" y="114"/>
                  </a:moveTo>
                  <a:cubicBezTo>
                    <a:pt x="167" y="122"/>
                    <a:pt x="173" y="132"/>
                    <a:pt x="175" y="145"/>
                  </a:cubicBezTo>
                  <a:cubicBezTo>
                    <a:pt x="177" y="157"/>
                    <a:pt x="176" y="168"/>
                    <a:pt x="170" y="179"/>
                  </a:cubicBezTo>
                  <a:cubicBezTo>
                    <a:pt x="165" y="189"/>
                    <a:pt x="157" y="197"/>
                    <a:pt x="145" y="204"/>
                  </a:cubicBezTo>
                  <a:cubicBezTo>
                    <a:pt x="134" y="211"/>
                    <a:pt x="120" y="216"/>
                    <a:pt x="105" y="218"/>
                  </a:cubicBezTo>
                  <a:cubicBezTo>
                    <a:pt x="89" y="221"/>
                    <a:pt x="74" y="221"/>
                    <a:pt x="61" y="218"/>
                  </a:cubicBezTo>
                  <a:cubicBezTo>
                    <a:pt x="48" y="216"/>
                    <a:pt x="38" y="210"/>
                    <a:pt x="29" y="203"/>
                  </a:cubicBezTo>
                  <a:cubicBezTo>
                    <a:pt x="21" y="195"/>
                    <a:pt x="16" y="185"/>
                    <a:pt x="14" y="172"/>
                  </a:cubicBezTo>
                  <a:cubicBezTo>
                    <a:pt x="11" y="160"/>
                    <a:pt x="13" y="148"/>
                    <a:pt x="19" y="138"/>
                  </a:cubicBezTo>
                  <a:cubicBezTo>
                    <a:pt x="26" y="128"/>
                    <a:pt x="35" y="120"/>
                    <a:pt x="48" y="114"/>
                  </a:cubicBezTo>
                  <a:cubicBezTo>
                    <a:pt x="35" y="112"/>
                    <a:pt x="25" y="108"/>
                    <a:pt x="17" y="100"/>
                  </a:cubicBezTo>
                  <a:cubicBezTo>
                    <a:pt x="9" y="93"/>
                    <a:pt x="4" y="84"/>
                    <a:pt x="2" y="73"/>
                  </a:cubicBezTo>
                  <a:cubicBezTo>
                    <a:pt x="0" y="61"/>
                    <a:pt x="1" y="51"/>
                    <a:pt x="7" y="41"/>
                  </a:cubicBezTo>
                  <a:cubicBezTo>
                    <a:pt x="12" y="31"/>
                    <a:pt x="19" y="23"/>
                    <a:pt x="30" y="16"/>
                  </a:cubicBezTo>
                  <a:cubicBezTo>
                    <a:pt x="41" y="10"/>
                    <a:pt x="53" y="5"/>
                    <a:pt x="68" y="3"/>
                  </a:cubicBezTo>
                  <a:cubicBezTo>
                    <a:pt x="82" y="0"/>
                    <a:pt x="96" y="1"/>
                    <a:pt x="108" y="3"/>
                  </a:cubicBezTo>
                  <a:cubicBezTo>
                    <a:pt x="120" y="6"/>
                    <a:pt x="130" y="11"/>
                    <a:pt x="138" y="19"/>
                  </a:cubicBezTo>
                  <a:cubicBezTo>
                    <a:pt x="146" y="26"/>
                    <a:pt x="151" y="36"/>
                    <a:pt x="153" y="47"/>
                  </a:cubicBezTo>
                  <a:cubicBezTo>
                    <a:pt x="155" y="58"/>
                    <a:pt x="154" y="69"/>
                    <a:pt x="148" y="79"/>
                  </a:cubicBezTo>
                  <a:cubicBezTo>
                    <a:pt x="143" y="88"/>
                    <a:pt x="135" y="96"/>
                    <a:pt x="124" y="101"/>
                  </a:cubicBezTo>
                  <a:cubicBezTo>
                    <a:pt x="138" y="102"/>
                    <a:pt x="149" y="107"/>
                    <a:pt x="158" y="114"/>
                  </a:cubicBezTo>
                  <a:close/>
                  <a:moveTo>
                    <a:pt x="125" y="171"/>
                  </a:moveTo>
                  <a:cubicBezTo>
                    <a:pt x="131" y="165"/>
                    <a:pt x="133" y="158"/>
                    <a:pt x="132" y="149"/>
                  </a:cubicBezTo>
                  <a:cubicBezTo>
                    <a:pt x="130" y="140"/>
                    <a:pt x="126" y="134"/>
                    <a:pt x="118" y="130"/>
                  </a:cubicBezTo>
                  <a:cubicBezTo>
                    <a:pt x="110" y="126"/>
                    <a:pt x="100" y="124"/>
                    <a:pt x="88" y="124"/>
                  </a:cubicBezTo>
                  <a:cubicBezTo>
                    <a:pt x="77" y="128"/>
                    <a:pt x="69" y="133"/>
                    <a:pt x="63" y="139"/>
                  </a:cubicBezTo>
                  <a:cubicBezTo>
                    <a:pt x="57" y="146"/>
                    <a:pt x="54" y="153"/>
                    <a:pt x="56" y="162"/>
                  </a:cubicBezTo>
                  <a:cubicBezTo>
                    <a:pt x="57" y="171"/>
                    <a:pt x="62" y="177"/>
                    <a:pt x="70" y="181"/>
                  </a:cubicBezTo>
                  <a:cubicBezTo>
                    <a:pt x="77" y="184"/>
                    <a:pt x="87" y="185"/>
                    <a:pt x="99" y="183"/>
                  </a:cubicBezTo>
                  <a:cubicBezTo>
                    <a:pt x="110" y="181"/>
                    <a:pt x="119" y="177"/>
                    <a:pt x="125" y="171"/>
                  </a:cubicBezTo>
                  <a:close/>
                  <a:moveTo>
                    <a:pt x="52" y="49"/>
                  </a:moveTo>
                  <a:cubicBezTo>
                    <a:pt x="47" y="55"/>
                    <a:pt x="45" y="62"/>
                    <a:pt x="46" y="70"/>
                  </a:cubicBezTo>
                  <a:cubicBezTo>
                    <a:pt x="48" y="79"/>
                    <a:pt x="52" y="85"/>
                    <a:pt x="58" y="89"/>
                  </a:cubicBezTo>
                  <a:cubicBezTo>
                    <a:pt x="65" y="93"/>
                    <a:pt x="73" y="95"/>
                    <a:pt x="84" y="95"/>
                  </a:cubicBezTo>
                  <a:cubicBezTo>
                    <a:pt x="93" y="92"/>
                    <a:pt x="100" y="87"/>
                    <a:pt x="105" y="81"/>
                  </a:cubicBezTo>
                  <a:cubicBezTo>
                    <a:pt x="110" y="75"/>
                    <a:pt x="112" y="68"/>
                    <a:pt x="111" y="59"/>
                  </a:cubicBezTo>
                  <a:cubicBezTo>
                    <a:pt x="109" y="51"/>
                    <a:pt x="105" y="45"/>
                    <a:pt x="99" y="41"/>
                  </a:cubicBezTo>
                  <a:cubicBezTo>
                    <a:pt x="92" y="38"/>
                    <a:pt x="84" y="37"/>
                    <a:pt x="74" y="38"/>
                  </a:cubicBezTo>
                  <a:cubicBezTo>
                    <a:pt x="64" y="40"/>
                    <a:pt x="57" y="44"/>
                    <a:pt x="52" y="49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7" name="îŝ1iḍê">
              <a:extLst>
                <a:ext uri="{FF2B5EF4-FFF2-40B4-BE49-F238E27FC236}">
                  <a16:creationId xmlns:a16="http://schemas.microsoft.com/office/drawing/2014/main" id="{320EEF67-19DC-49BC-83DD-D34F81CAB431}"/>
                </a:ext>
              </a:extLst>
            </p:cNvPr>
            <p:cNvSpPr/>
            <p:nvPr/>
          </p:nvSpPr>
          <p:spPr bwMode="auto">
            <a:xfrm>
              <a:off x="3445806" y="2173726"/>
              <a:ext cx="311697" cy="361074"/>
            </a:xfrm>
            <a:custGeom>
              <a:avLst/>
              <a:gdLst>
                <a:gd name="T0" fmla="*/ 177 w 186"/>
                <a:gd name="T1" fmla="*/ 146 h 216"/>
                <a:gd name="T2" fmla="*/ 186 w 186"/>
                <a:gd name="T3" fmla="*/ 180 h 216"/>
                <a:gd name="T4" fmla="*/ 54 w 186"/>
                <a:gd name="T5" fmla="*/ 216 h 216"/>
                <a:gd name="T6" fmla="*/ 46 w 186"/>
                <a:gd name="T7" fmla="*/ 185 h 216"/>
                <a:gd name="T8" fmla="*/ 91 w 186"/>
                <a:gd name="T9" fmla="*/ 99 h 216"/>
                <a:gd name="T10" fmla="*/ 100 w 186"/>
                <a:gd name="T11" fmla="*/ 55 h 216"/>
                <a:gd name="T12" fmla="*/ 89 w 186"/>
                <a:gd name="T13" fmla="*/ 39 h 216"/>
                <a:gd name="T14" fmla="*/ 68 w 186"/>
                <a:gd name="T15" fmla="*/ 39 h 216"/>
                <a:gd name="T16" fmla="*/ 22 w 186"/>
                <a:gd name="T17" fmla="*/ 72 h 216"/>
                <a:gd name="T18" fmla="*/ 0 w 186"/>
                <a:gd name="T19" fmla="*/ 45 h 216"/>
                <a:gd name="T20" fmla="*/ 25 w 186"/>
                <a:gd name="T21" fmla="*/ 21 h 216"/>
                <a:gd name="T22" fmla="*/ 60 w 186"/>
                <a:gd name="T23" fmla="*/ 5 h 216"/>
                <a:gd name="T24" fmla="*/ 112 w 186"/>
                <a:gd name="T25" fmla="*/ 6 h 216"/>
                <a:gd name="T26" fmla="*/ 140 w 186"/>
                <a:gd name="T27" fmla="*/ 40 h 216"/>
                <a:gd name="T28" fmla="*/ 142 w 186"/>
                <a:gd name="T29" fmla="*/ 73 h 216"/>
                <a:gd name="T30" fmla="*/ 128 w 186"/>
                <a:gd name="T31" fmla="*/ 111 h 216"/>
                <a:gd name="T32" fmla="*/ 97 w 186"/>
                <a:gd name="T33" fmla="*/ 168 h 216"/>
                <a:gd name="T34" fmla="*/ 177 w 186"/>
                <a:gd name="T35" fmla="*/ 14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6" h="216">
                  <a:moveTo>
                    <a:pt x="177" y="146"/>
                  </a:moveTo>
                  <a:cubicBezTo>
                    <a:pt x="186" y="180"/>
                    <a:pt x="186" y="180"/>
                    <a:pt x="186" y="180"/>
                  </a:cubicBezTo>
                  <a:cubicBezTo>
                    <a:pt x="54" y="216"/>
                    <a:pt x="54" y="216"/>
                    <a:pt x="54" y="216"/>
                  </a:cubicBezTo>
                  <a:cubicBezTo>
                    <a:pt x="46" y="185"/>
                    <a:pt x="46" y="185"/>
                    <a:pt x="46" y="185"/>
                  </a:cubicBezTo>
                  <a:cubicBezTo>
                    <a:pt x="91" y="99"/>
                    <a:pt x="91" y="99"/>
                    <a:pt x="91" y="99"/>
                  </a:cubicBezTo>
                  <a:cubicBezTo>
                    <a:pt x="100" y="81"/>
                    <a:pt x="103" y="66"/>
                    <a:pt x="100" y="55"/>
                  </a:cubicBezTo>
                  <a:cubicBezTo>
                    <a:pt x="98" y="47"/>
                    <a:pt x="94" y="42"/>
                    <a:pt x="89" y="39"/>
                  </a:cubicBezTo>
                  <a:cubicBezTo>
                    <a:pt x="83" y="37"/>
                    <a:pt x="76" y="36"/>
                    <a:pt x="68" y="39"/>
                  </a:cubicBezTo>
                  <a:cubicBezTo>
                    <a:pt x="51" y="43"/>
                    <a:pt x="36" y="54"/>
                    <a:pt x="22" y="72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6" y="36"/>
                    <a:pt x="14" y="28"/>
                    <a:pt x="25" y="21"/>
                  </a:cubicBezTo>
                  <a:cubicBezTo>
                    <a:pt x="36" y="14"/>
                    <a:pt x="48" y="8"/>
                    <a:pt x="60" y="5"/>
                  </a:cubicBezTo>
                  <a:cubicBezTo>
                    <a:pt x="80" y="0"/>
                    <a:pt x="98" y="0"/>
                    <a:pt x="112" y="6"/>
                  </a:cubicBezTo>
                  <a:cubicBezTo>
                    <a:pt x="126" y="13"/>
                    <a:pt x="136" y="24"/>
                    <a:pt x="140" y="40"/>
                  </a:cubicBezTo>
                  <a:cubicBezTo>
                    <a:pt x="144" y="51"/>
                    <a:pt x="144" y="62"/>
                    <a:pt x="142" y="73"/>
                  </a:cubicBezTo>
                  <a:cubicBezTo>
                    <a:pt x="140" y="84"/>
                    <a:pt x="135" y="96"/>
                    <a:pt x="128" y="111"/>
                  </a:cubicBezTo>
                  <a:cubicBezTo>
                    <a:pt x="97" y="168"/>
                    <a:pt x="97" y="168"/>
                    <a:pt x="97" y="168"/>
                  </a:cubicBezTo>
                  <a:lnTo>
                    <a:pt x="177" y="146"/>
                  </a:ln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8" name="îṩļîḋê">
              <a:extLst>
                <a:ext uri="{FF2B5EF4-FFF2-40B4-BE49-F238E27FC236}">
                  <a16:creationId xmlns:a16="http://schemas.microsoft.com/office/drawing/2014/main" id="{2DA20A97-B9C3-4CF4-9080-FD37AA8AAF8B}"/>
                </a:ext>
              </a:extLst>
            </p:cNvPr>
            <p:cNvSpPr/>
            <p:nvPr/>
          </p:nvSpPr>
          <p:spPr bwMode="auto">
            <a:xfrm>
              <a:off x="8314138" y="1800307"/>
              <a:ext cx="422797" cy="734493"/>
            </a:xfrm>
            <a:custGeom>
              <a:avLst/>
              <a:gdLst>
                <a:gd name="T0" fmla="*/ 247 w 253"/>
                <a:gd name="T1" fmla="*/ 162 h 439"/>
                <a:gd name="T2" fmla="*/ 229 w 253"/>
                <a:gd name="T3" fmla="*/ 206 h 439"/>
                <a:gd name="T4" fmla="*/ 200 w 253"/>
                <a:gd name="T5" fmla="*/ 236 h 439"/>
                <a:gd name="T6" fmla="*/ 162 w 253"/>
                <a:gd name="T7" fmla="*/ 251 h 439"/>
                <a:gd name="T8" fmla="*/ 119 w 253"/>
                <a:gd name="T9" fmla="*/ 253 h 439"/>
                <a:gd name="T10" fmla="*/ 102 w 253"/>
                <a:gd name="T11" fmla="*/ 312 h 439"/>
                <a:gd name="T12" fmla="*/ 91 w 253"/>
                <a:gd name="T13" fmla="*/ 318 h 439"/>
                <a:gd name="T14" fmla="*/ 66 w 253"/>
                <a:gd name="T15" fmla="*/ 315 h 439"/>
                <a:gd name="T16" fmla="*/ 49 w 253"/>
                <a:gd name="T17" fmla="*/ 310 h 439"/>
                <a:gd name="T18" fmla="*/ 38 w 253"/>
                <a:gd name="T19" fmla="*/ 305 h 439"/>
                <a:gd name="T20" fmla="*/ 33 w 253"/>
                <a:gd name="T21" fmla="*/ 301 h 439"/>
                <a:gd name="T22" fmla="*/ 32 w 253"/>
                <a:gd name="T23" fmla="*/ 294 h 439"/>
                <a:gd name="T24" fmla="*/ 48 w 253"/>
                <a:gd name="T25" fmla="*/ 221 h 439"/>
                <a:gd name="T26" fmla="*/ 53 w 253"/>
                <a:gd name="T27" fmla="*/ 205 h 439"/>
                <a:gd name="T28" fmla="*/ 60 w 253"/>
                <a:gd name="T29" fmla="*/ 197 h 439"/>
                <a:gd name="T30" fmla="*/ 69 w 253"/>
                <a:gd name="T31" fmla="*/ 194 h 439"/>
                <a:gd name="T32" fmla="*/ 81 w 253"/>
                <a:gd name="T33" fmla="*/ 195 h 439"/>
                <a:gd name="T34" fmla="*/ 85 w 253"/>
                <a:gd name="T35" fmla="*/ 196 h 439"/>
                <a:gd name="T36" fmla="*/ 115 w 253"/>
                <a:gd name="T37" fmla="*/ 198 h 439"/>
                <a:gd name="T38" fmla="*/ 138 w 253"/>
                <a:gd name="T39" fmla="*/ 189 h 439"/>
                <a:gd name="T40" fmla="*/ 154 w 253"/>
                <a:gd name="T41" fmla="*/ 172 h 439"/>
                <a:gd name="T42" fmla="*/ 164 w 253"/>
                <a:gd name="T43" fmla="*/ 148 h 439"/>
                <a:gd name="T44" fmla="*/ 167 w 253"/>
                <a:gd name="T45" fmla="*/ 120 h 439"/>
                <a:gd name="T46" fmla="*/ 159 w 253"/>
                <a:gd name="T47" fmla="*/ 95 h 439"/>
                <a:gd name="T48" fmla="*/ 142 w 253"/>
                <a:gd name="T49" fmla="*/ 76 h 439"/>
                <a:gd name="T50" fmla="*/ 113 w 253"/>
                <a:gd name="T51" fmla="*/ 64 h 439"/>
                <a:gd name="T52" fmla="*/ 84 w 253"/>
                <a:gd name="T53" fmla="*/ 60 h 439"/>
                <a:gd name="T54" fmla="*/ 62 w 253"/>
                <a:gd name="T55" fmla="*/ 62 h 439"/>
                <a:gd name="T56" fmla="*/ 46 w 253"/>
                <a:gd name="T57" fmla="*/ 65 h 439"/>
                <a:gd name="T58" fmla="*/ 37 w 253"/>
                <a:gd name="T59" fmla="*/ 66 h 439"/>
                <a:gd name="T60" fmla="*/ 33 w 253"/>
                <a:gd name="T61" fmla="*/ 63 h 439"/>
                <a:gd name="T62" fmla="*/ 31 w 253"/>
                <a:gd name="T63" fmla="*/ 58 h 439"/>
                <a:gd name="T64" fmla="*/ 32 w 253"/>
                <a:gd name="T65" fmla="*/ 47 h 439"/>
                <a:gd name="T66" fmla="*/ 35 w 253"/>
                <a:gd name="T67" fmla="*/ 29 h 439"/>
                <a:gd name="T68" fmla="*/ 40 w 253"/>
                <a:gd name="T69" fmla="*/ 14 h 439"/>
                <a:gd name="T70" fmla="*/ 46 w 253"/>
                <a:gd name="T71" fmla="*/ 7 h 439"/>
                <a:gd name="T72" fmla="*/ 60 w 253"/>
                <a:gd name="T73" fmla="*/ 2 h 439"/>
                <a:gd name="T74" fmla="*/ 82 w 253"/>
                <a:gd name="T75" fmla="*/ 0 h 439"/>
                <a:gd name="T76" fmla="*/ 110 w 253"/>
                <a:gd name="T77" fmla="*/ 1 h 439"/>
                <a:gd name="T78" fmla="*/ 142 w 253"/>
                <a:gd name="T79" fmla="*/ 6 h 439"/>
                <a:gd name="T80" fmla="*/ 201 w 253"/>
                <a:gd name="T81" fmla="*/ 32 h 439"/>
                <a:gd name="T82" fmla="*/ 237 w 253"/>
                <a:gd name="T83" fmla="*/ 69 h 439"/>
                <a:gd name="T84" fmla="*/ 251 w 253"/>
                <a:gd name="T85" fmla="*/ 114 h 439"/>
                <a:gd name="T86" fmla="*/ 247 w 253"/>
                <a:gd name="T87" fmla="*/ 162 h 439"/>
                <a:gd name="T88" fmla="*/ 90 w 253"/>
                <a:gd name="T89" fmla="*/ 402 h 439"/>
                <a:gd name="T90" fmla="*/ 83 w 253"/>
                <a:gd name="T91" fmla="*/ 423 h 439"/>
                <a:gd name="T92" fmla="*/ 72 w 253"/>
                <a:gd name="T93" fmla="*/ 435 h 439"/>
                <a:gd name="T94" fmla="*/ 57 w 253"/>
                <a:gd name="T95" fmla="*/ 439 h 439"/>
                <a:gd name="T96" fmla="*/ 36 w 253"/>
                <a:gd name="T97" fmla="*/ 436 h 439"/>
                <a:gd name="T98" fmla="*/ 15 w 253"/>
                <a:gd name="T99" fmla="*/ 429 h 439"/>
                <a:gd name="T100" fmla="*/ 4 w 253"/>
                <a:gd name="T101" fmla="*/ 418 h 439"/>
                <a:gd name="T102" fmla="*/ 0 w 253"/>
                <a:gd name="T103" fmla="*/ 402 h 439"/>
                <a:gd name="T104" fmla="*/ 3 w 253"/>
                <a:gd name="T105" fmla="*/ 381 h 439"/>
                <a:gd name="T106" fmla="*/ 11 w 253"/>
                <a:gd name="T107" fmla="*/ 359 h 439"/>
                <a:gd name="T108" fmla="*/ 21 w 253"/>
                <a:gd name="T109" fmla="*/ 347 h 439"/>
                <a:gd name="T110" fmla="*/ 37 w 253"/>
                <a:gd name="T111" fmla="*/ 343 h 439"/>
                <a:gd name="T112" fmla="*/ 58 w 253"/>
                <a:gd name="T113" fmla="*/ 346 h 439"/>
                <a:gd name="T114" fmla="*/ 79 w 253"/>
                <a:gd name="T115" fmla="*/ 353 h 439"/>
                <a:gd name="T116" fmla="*/ 90 w 253"/>
                <a:gd name="T117" fmla="*/ 364 h 439"/>
                <a:gd name="T118" fmla="*/ 94 w 253"/>
                <a:gd name="T119" fmla="*/ 380 h 439"/>
                <a:gd name="T120" fmla="*/ 90 w 253"/>
                <a:gd name="T121" fmla="*/ 402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3" h="439">
                  <a:moveTo>
                    <a:pt x="247" y="162"/>
                  </a:moveTo>
                  <a:cubicBezTo>
                    <a:pt x="243" y="179"/>
                    <a:pt x="237" y="193"/>
                    <a:pt x="229" y="206"/>
                  </a:cubicBezTo>
                  <a:cubicBezTo>
                    <a:pt x="221" y="218"/>
                    <a:pt x="211" y="228"/>
                    <a:pt x="200" y="236"/>
                  </a:cubicBezTo>
                  <a:cubicBezTo>
                    <a:pt x="188" y="243"/>
                    <a:pt x="176" y="248"/>
                    <a:pt x="162" y="251"/>
                  </a:cubicBezTo>
                  <a:cubicBezTo>
                    <a:pt x="149" y="254"/>
                    <a:pt x="134" y="255"/>
                    <a:pt x="119" y="253"/>
                  </a:cubicBezTo>
                  <a:cubicBezTo>
                    <a:pt x="102" y="312"/>
                    <a:pt x="102" y="312"/>
                    <a:pt x="102" y="312"/>
                  </a:cubicBezTo>
                  <a:cubicBezTo>
                    <a:pt x="100" y="315"/>
                    <a:pt x="97" y="317"/>
                    <a:pt x="91" y="318"/>
                  </a:cubicBezTo>
                  <a:cubicBezTo>
                    <a:pt x="85" y="318"/>
                    <a:pt x="76" y="317"/>
                    <a:pt x="66" y="315"/>
                  </a:cubicBezTo>
                  <a:cubicBezTo>
                    <a:pt x="59" y="313"/>
                    <a:pt x="53" y="311"/>
                    <a:pt x="49" y="310"/>
                  </a:cubicBezTo>
                  <a:cubicBezTo>
                    <a:pt x="44" y="308"/>
                    <a:pt x="41" y="307"/>
                    <a:pt x="38" y="305"/>
                  </a:cubicBezTo>
                  <a:cubicBezTo>
                    <a:pt x="36" y="304"/>
                    <a:pt x="34" y="302"/>
                    <a:pt x="33" y="301"/>
                  </a:cubicBezTo>
                  <a:cubicBezTo>
                    <a:pt x="32" y="299"/>
                    <a:pt x="32" y="297"/>
                    <a:pt x="32" y="294"/>
                  </a:cubicBezTo>
                  <a:cubicBezTo>
                    <a:pt x="48" y="221"/>
                    <a:pt x="48" y="221"/>
                    <a:pt x="48" y="221"/>
                  </a:cubicBezTo>
                  <a:cubicBezTo>
                    <a:pt x="49" y="215"/>
                    <a:pt x="51" y="209"/>
                    <a:pt x="53" y="205"/>
                  </a:cubicBezTo>
                  <a:cubicBezTo>
                    <a:pt x="55" y="202"/>
                    <a:pt x="57" y="199"/>
                    <a:pt x="60" y="197"/>
                  </a:cubicBezTo>
                  <a:cubicBezTo>
                    <a:pt x="63" y="195"/>
                    <a:pt x="66" y="194"/>
                    <a:pt x="69" y="194"/>
                  </a:cubicBezTo>
                  <a:cubicBezTo>
                    <a:pt x="73" y="194"/>
                    <a:pt x="77" y="194"/>
                    <a:pt x="81" y="195"/>
                  </a:cubicBezTo>
                  <a:cubicBezTo>
                    <a:pt x="85" y="196"/>
                    <a:pt x="85" y="196"/>
                    <a:pt x="85" y="196"/>
                  </a:cubicBezTo>
                  <a:cubicBezTo>
                    <a:pt x="96" y="199"/>
                    <a:pt x="106" y="200"/>
                    <a:pt x="115" y="198"/>
                  </a:cubicBezTo>
                  <a:cubicBezTo>
                    <a:pt x="124" y="197"/>
                    <a:pt x="131" y="194"/>
                    <a:pt x="138" y="189"/>
                  </a:cubicBezTo>
                  <a:cubicBezTo>
                    <a:pt x="144" y="185"/>
                    <a:pt x="150" y="179"/>
                    <a:pt x="154" y="172"/>
                  </a:cubicBezTo>
                  <a:cubicBezTo>
                    <a:pt x="159" y="165"/>
                    <a:pt x="162" y="157"/>
                    <a:pt x="164" y="148"/>
                  </a:cubicBezTo>
                  <a:cubicBezTo>
                    <a:pt x="166" y="138"/>
                    <a:pt x="167" y="129"/>
                    <a:pt x="167" y="120"/>
                  </a:cubicBezTo>
                  <a:cubicBezTo>
                    <a:pt x="166" y="111"/>
                    <a:pt x="164" y="103"/>
                    <a:pt x="159" y="95"/>
                  </a:cubicBezTo>
                  <a:cubicBezTo>
                    <a:pt x="155" y="88"/>
                    <a:pt x="149" y="82"/>
                    <a:pt x="142" y="76"/>
                  </a:cubicBezTo>
                  <a:cubicBezTo>
                    <a:pt x="134" y="71"/>
                    <a:pt x="124" y="67"/>
                    <a:pt x="113" y="64"/>
                  </a:cubicBezTo>
                  <a:cubicBezTo>
                    <a:pt x="102" y="61"/>
                    <a:pt x="93" y="60"/>
                    <a:pt x="84" y="60"/>
                  </a:cubicBezTo>
                  <a:cubicBezTo>
                    <a:pt x="76" y="60"/>
                    <a:pt x="68" y="61"/>
                    <a:pt x="62" y="62"/>
                  </a:cubicBezTo>
                  <a:cubicBezTo>
                    <a:pt x="56" y="63"/>
                    <a:pt x="50" y="64"/>
                    <a:pt x="46" y="65"/>
                  </a:cubicBezTo>
                  <a:cubicBezTo>
                    <a:pt x="42" y="66"/>
                    <a:pt x="39" y="66"/>
                    <a:pt x="37" y="66"/>
                  </a:cubicBezTo>
                  <a:cubicBezTo>
                    <a:pt x="35" y="65"/>
                    <a:pt x="34" y="65"/>
                    <a:pt x="33" y="63"/>
                  </a:cubicBezTo>
                  <a:cubicBezTo>
                    <a:pt x="32" y="62"/>
                    <a:pt x="31" y="60"/>
                    <a:pt x="31" y="58"/>
                  </a:cubicBezTo>
                  <a:cubicBezTo>
                    <a:pt x="31" y="55"/>
                    <a:pt x="31" y="51"/>
                    <a:pt x="32" y="47"/>
                  </a:cubicBezTo>
                  <a:cubicBezTo>
                    <a:pt x="32" y="42"/>
                    <a:pt x="34" y="36"/>
                    <a:pt x="35" y="29"/>
                  </a:cubicBezTo>
                  <a:cubicBezTo>
                    <a:pt x="37" y="22"/>
                    <a:pt x="39" y="17"/>
                    <a:pt x="40" y="14"/>
                  </a:cubicBezTo>
                  <a:cubicBezTo>
                    <a:pt x="42" y="11"/>
                    <a:pt x="44" y="8"/>
                    <a:pt x="46" y="7"/>
                  </a:cubicBezTo>
                  <a:cubicBezTo>
                    <a:pt x="49" y="5"/>
                    <a:pt x="53" y="4"/>
                    <a:pt x="60" y="2"/>
                  </a:cubicBezTo>
                  <a:cubicBezTo>
                    <a:pt x="66" y="1"/>
                    <a:pt x="74" y="0"/>
                    <a:pt x="82" y="0"/>
                  </a:cubicBezTo>
                  <a:cubicBezTo>
                    <a:pt x="91" y="0"/>
                    <a:pt x="100" y="0"/>
                    <a:pt x="110" y="1"/>
                  </a:cubicBezTo>
                  <a:cubicBezTo>
                    <a:pt x="121" y="2"/>
                    <a:pt x="131" y="3"/>
                    <a:pt x="142" y="6"/>
                  </a:cubicBezTo>
                  <a:cubicBezTo>
                    <a:pt x="166" y="12"/>
                    <a:pt x="186" y="21"/>
                    <a:pt x="201" y="32"/>
                  </a:cubicBezTo>
                  <a:cubicBezTo>
                    <a:pt x="217" y="43"/>
                    <a:pt x="229" y="55"/>
                    <a:pt x="237" y="69"/>
                  </a:cubicBezTo>
                  <a:cubicBezTo>
                    <a:pt x="245" y="83"/>
                    <a:pt x="250" y="98"/>
                    <a:pt x="251" y="114"/>
                  </a:cubicBezTo>
                  <a:cubicBezTo>
                    <a:pt x="253" y="130"/>
                    <a:pt x="251" y="146"/>
                    <a:pt x="247" y="162"/>
                  </a:cubicBezTo>
                  <a:close/>
                  <a:moveTo>
                    <a:pt x="90" y="402"/>
                  </a:moveTo>
                  <a:cubicBezTo>
                    <a:pt x="88" y="411"/>
                    <a:pt x="86" y="418"/>
                    <a:pt x="83" y="423"/>
                  </a:cubicBezTo>
                  <a:cubicBezTo>
                    <a:pt x="80" y="429"/>
                    <a:pt x="77" y="433"/>
                    <a:pt x="72" y="435"/>
                  </a:cubicBezTo>
                  <a:cubicBezTo>
                    <a:pt x="68" y="438"/>
                    <a:pt x="63" y="439"/>
                    <a:pt x="57" y="439"/>
                  </a:cubicBezTo>
                  <a:cubicBezTo>
                    <a:pt x="51" y="439"/>
                    <a:pt x="44" y="438"/>
                    <a:pt x="36" y="436"/>
                  </a:cubicBezTo>
                  <a:cubicBezTo>
                    <a:pt x="27" y="434"/>
                    <a:pt x="20" y="432"/>
                    <a:pt x="15" y="429"/>
                  </a:cubicBezTo>
                  <a:cubicBezTo>
                    <a:pt x="10" y="426"/>
                    <a:pt x="6" y="422"/>
                    <a:pt x="4" y="418"/>
                  </a:cubicBezTo>
                  <a:cubicBezTo>
                    <a:pt x="1" y="414"/>
                    <a:pt x="0" y="408"/>
                    <a:pt x="0" y="402"/>
                  </a:cubicBezTo>
                  <a:cubicBezTo>
                    <a:pt x="0" y="396"/>
                    <a:pt x="1" y="389"/>
                    <a:pt x="3" y="381"/>
                  </a:cubicBezTo>
                  <a:cubicBezTo>
                    <a:pt x="5" y="372"/>
                    <a:pt x="8" y="365"/>
                    <a:pt x="11" y="359"/>
                  </a:cubicBezTo>
                  <a:cubicBezTo>
                    <a:pt x="13" y="354"/>
                    <a:pt x="17" y="350"/>
                    <a:pt x="21" y="347"/>
                  </a:cubicBezTo>
                  <a:cubicBezTo>
                    <a:pt x="26" y="344"/>
                    <a:pt x="31" y="343"/>
                    <a:pt x="37" y="343"/>
                  </a:cubicBezTo>
                  <a:cubicBezTo>
                    <a:pt x="43" y="343"/>
                    <a:pt x="50" y="344"/>
                    <a:pt x="58" y="346"/>
                  </a:cubicBezTo>
                  <a:cubicBezTo>
                    <a:pt x="67" y="348"/>
                    <a:pt x="73" y="350"/>
                    <a:pt x="79" y="353"/>
                  </a:cubicBezTo>
                  <a:cubicBezTo>
                    <a:pt x="84" y="356"/>
                    <a:pt x="88" y="360"/>
                    <a:pt x="90" y="364"/>
                  </a:cubicBezTo>
                  <a:cubicBezTo>
                    <a:pt x="93" y="369"/>
                    <a:pt x="94" y="374"/>
                    <a:pt x="94" y="380"/>
                  </a:cubicBezTo>
                  <a:cubicBezTo>
                    <a:pt x="94" y="386"/>
                    <a:pt x="92" y="394"/>
                    <a:pt x="90" y="402"/>
                  </a:cubicBezTo>
                  <a:close/>
                </a:path>
              </a:pathLst>
            </a:custGeom>
            <a:solidFill>
              <a:srgbClr val="D670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sp>
        <p:nvSpPr>
          <p:cNvPr id="119" name="文本框 118">
            <a:extLst>
              <a:ext uri="{FF2B5EF4-FFF2-40B4-BE49-F238E27FC236}">
                <a16:creationId xmlns:a16="http://schemas.microsoft.com/office/drawing/2014/main" id="{B289BFA8-73CC-4CC2-A2DD-6FD8224B92FF}"/>
              </a:ext>
            </a:extLst>
          </p:cNvPr>
          <p:cNvSpPr txBox="1"/>
          <p:nvPr/>
        </p:nvSpPr>
        <p:spPr>
          <a:xfrm>
            <a:off x="702722" y="3557359"/>
            <a:ext cx="23378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浮点类型</a:t>
            </a:r>
          </a:p>
        </p:txBody>
      </p:sp>
      <p:sp>
        <p:nvSpPr>
          <p:cNvPr id="120" name="文本框 119">
            <a:extLst>
              <a:ext uri="{FF2B5EF4-FFF2-40B4-BE49-F238E27FC236}">
                <a16:creationId xmlns:a16="http://schemas.microsoft.com/office/drawing/2014/main" id="{0B64695C-5DC1-4282-B625-A5BF1DA9878B}"/>
              </a:ext>
            </a:extLst>
          </p:cNvPr>
          <p:cNvSpPr txBox="1"/>
          <p:nvPr/>
        </p:nvSpPr>
        <p:spPr>
          <a:xfrm>
            <a:off x="906544" y="1473250"/>
            <a:ext cx="23378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整型</a:t>
            </a:r>
          </a:p>
        </p:txBody>
      </p:sp>
      <p:sp>
        <p:nvSpPr>
          <p:cNvPr id="121" name="文本框 120">
            <a:extLst>
              <a:ext uri="{FF2B5EF4-FFF2-40B4-BE49-F238E27FC236}">
                <a16:creationId xmlns:a16="http://schemas.microsoft.com/office/drawing/2014/main" id="{EC48A9D2-4012-4339-B1A6-DCA69ACA1C96}"/>
              </a:ext>
            </a:extLst>
          </p:cNvPr>
          <p:cNvSpPr txBox="1"/>
          <p:nvPr/>
        </p:nvSpPr>
        <p:spPr>
          <a:xfrm>
            <a:off x="7604232" y="1475579"/>
            <a:ext cx="23378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布尔类型</a:t>
            </a:r>
          </a:p>
        </p:txBody>
      </p:sp>
      <p:sp>
        <p:nvSpPr>
          <p:cNvPr id="123" name="文本框 122">
            <a:extLst>
              <a:ext uri="{FF2B5EF4-FFF2-40B4-BE49-F238E27FC236}">
                <a16:creationId xmlns:a16="http://schemas.microsoft.com/office/drawing/2014/main" id="{AFA7B765-BE34-4831-A7BB-5CDAD1347FC4}"/>
              </a:ext>
            </a:extLst>
          </p:cNvPr>
          <p:cNvSpPr txBox="1"/>
          <p:nvPr/>
        </p:nvSpPr>
        <p:spPr>
          <a:xfrm>
            <a:off x="7604231" y="3532452"/>
            <a:ext cx="23378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字符类型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F38CC6A-BF08-4D0A-9EAC-18FAFEB6C0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9956" y="1083529"/>
            <a:ext cx="2865322" cy="2041157"/>
          </a:xfrm>
          <a:prstGeom prst="rect">
            <a:avLst/>
          </a:prstGeom>
        </p:spPr>
      </p:pic>
      <p:pic>
        <p:nvPicPr>
          <p:cNvPr id="124" name="图片 123">
            <a:extLst>
              <a:ext uri="{FF2B5EF4-FFF2-40B4-BE49-F238E27FC236}">
                <a16:creationId xmlns:a16="http://schemas.microsoft.com/office/drawing/2014/main" id="{CAE76473-2712-4442-BFA5-F25475925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6474" y="1154353"/>
            <a:ext cx="2886367" cy="1756919"/>
          </a:xfrm>
          <a:prstGeom prst="rect">
            <a:avLst/>
          </a:prstGeom>
        </p:spPr>
      </p:pic>
      <p:sp>
        <p:nvSpPr>
          <p:cNvPr id="125" name="文本框 124">
            <a:extLst>
              <a:ext uri="{FF2B5EF4-FFF2-40B4-BE49-F238E27FC236}">
                <a16:creationId xmlns:a16="http://schemas.microsoft.com/office/drawing/2014/main" id="{90920114-0447-412F-874A-8708A5F0002B}"/>
              </a:ext>
            </a:extLst>
          </p:cNvPr>
          <p:cNvSpPr txBox="1"/>
          <p:nvPr/>
        </p:nvSpPr>
        <p:spPr>
          <a:xfrm>
            <a:off x="8481620" y="2032812"/>
            <a:ext cx="26137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true   or   false </a:t>
            </a:r>
            <a:endParaRPr lang="zh-CN" altLang="en-US" dirty="0"/>
          </a:p>
        </p:txBody>
      </p:sp>
      <p:sp>
        <p:nvSpPr>
          <p:cNvPr id="126" name="文本框 125">
            <a:extLst>
              <a:ext uri="{FF2B5EF4-FFF2-40B4-BE49-F238E27FC236}">
                <a16:creationId xmlns:a16="http://schemas.microsoft.com/office/drawing/2014/main" id="{6B5B9FAB-FD77-4234-BD6D-C4C7447CBB36}"/>
              </a:ext>
            </a:extLst>
          </p:cNvPr>
          <p:cNvSpPr txBox="1"/>
          <p:nvPr/>
        </p:nvSpPr>
        <p:spPr>
          <a:xfrm>
            <a:off x="959453" y="4004406"/>
            <a:ext cx="26137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f32   or   f64 </a:t>
            </a:r>
            <a:endParaRPr lang="zh-CN" altLang="en-US" dirty="0"/>
          </a:p>
        </p:txBody>
      </p:sp>
      <p:sp>
        <p:nvSpPr>
          <p:cNvPr id="127" name="矩形 126">
            <a:extLst>
              <a:ext uri="{FF2B5EF4-FFF2-40B4-BE49-F238E27FC236}">
                <a16:creationId xmlns:a16="http://schemas.microsoft.com/office/drawing/2014/main" id="{D309A2E2-4943-4492-9A5F-B0129B5B7B5C}"/>
              </a:ext>
            </a:extLst>
          </p:cNvPr>
          <p:cNvSpPr/>
          <p:nvPr/>
        </p:nvSpPr>
        <p:spPr>
          <a:xfrm>
            <a:off x="1669157" y="3548291"/>
            <a:ext cx="10647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rgbClr val="333333"/>
                </a:solidFill>
                <a:latin typeface="Open Sans"/>
              </a:rPr>
              <a:t>IEEE-754</a:t>
            </a:r>
            <a:endParaRPr lang="zh-CN" altLang="en-US" dirty="0"/>
          </a:p>
        </p:txBody>
      </p:sp>
      <p:sp>
        <p:nvSpPr>
          <p:cNvPr id="128" name="文本框 127">
            <a:extLst>
              <a:ext uri="{FF2B5EF4-FFF2-40B4-BE49-F238E27FC236}">
                <a16:creationId xmlns:a16="http://schemas.microsoft.com/office/drawing/2014/main" id="{FD88A216-66C0-41B6-85B7-3853DCAD90EF}"/>
              </a:ext>
            </a:extLst>
          </p:cNvPr>
          <p:cNvSpPr txBox="1"/>
          <p:nvPr/>
        </p:nvSpPr>
        <p:spPr>
          <a:xfrm>
            <a:off x="7807446" y="3910599"/>
            <a:ext cx="2988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单</a:t>
            </a:r>
            <a:r>
              <a:rPr lang="zh-CN" altLang="en-US" dirty="0">
                <a:solidFill>
                  <a:schemeClr val="bg1"/>
                </a:solidFill>
              </a:rPr>
              <a:t>个</a:t>
            </a:r>
            <a:r>
              <a:rPr lang="en-US" altLang="zh-CN" dirty="0">
                <a:solidFill>
                  <a:schemeClr val="bg1"/>
                </a:solidFill>
              </a:rPr>
              <a:t>32</a:t>
            </a:r>
            <a:r>
              <a:rPr lang="zh-CN" altLang="en-US" dirty="0"/>
              <a:t>位</a:t>
            </a:r>
            <a:r>
              <a:rPr lang="en-US" altLang="zh-CN" dirty="0"/>
              <a:t>Unicode</a:t>
            </a:r>
            <a:r>
              <a:rPr lang="zh-CN" altLang="en-US" dirty="0"/>
              <a:t>字符值</a:t>
            </a:r>
          </a:p>
        </p:txBody>
      </p:sp>
    </p:spTree>
    <p:extLst>
      <p:ext uri="{BB962C8B-B14F-4D97-AF65-F5344CB8AC3E}">
        <p14:creationId xmlns:p14="http://schemas.microsoft.com/office/powerpoint/2010/main" val="3677912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AA8BD59-DCC7-404B-B837-10DBFC0816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复合数据类型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C6259E4-1B9B-4BB7-8508-5CB415974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月泉的博客  </a:t>
            </a:r>
            <a:r>
              <a:rPr lang="en-US" altLang="zh-CN" dirty="0">
                <a:cs typeface="+mn-ea"/>
                <a:sym typeface="+mn-lt"/>
              </a:rPr>
              <a:t>www.lunaspring.com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878CE4E-CF5B-4899-8E31-6C37FAA5D6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5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119" name="文本框 118">
            <a:extLst>
              <a:ext uri="{FF2B5EF4-FFF2-40B4-BE49-F238E27FC236}">
                <a16:creationId xmlns:a16="http://schemas.microsoft.com/office/drawing/2014/main" id="{B289BFA8-73CC-4CC2-A2DD-6FD8224B92FF}"/>
              </a:ext>
            </a:extLst>
          </p:cNvPr>
          <p:cNvSpPr txBox="1"/>
          <p:nvPr/>
        </p:nvSpPr>
        <p:spPr>
          <a:xfrm>
            <a:off x="906543" y="2927180"/>
            <a:ext cx="23378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数组</a:t>
            </a:r>
          </a:p>
        </p:txBody>
      </p:sp>
      <p:sp>
        <p:nvSpPr>
          <p:cNvPr id="120" name="文本框 119">
            <a:extLst>
              <a:ext uri="{FF2B5EF4-FFF2-40B4-BE49-F238E27FC236}">
                <a16:creationId xmlns:a16="http://schemas.microsoft.com/office/drawing/2014/main" id="{0B64695C-5DC1-4282-B625-A5BF1DA9878B}"/>
              </a:ext>
            </a:extLst>
          </p:cNvPr>
          <p:cNvSpPr txBox="1"/>
          <p:nvPr/>
        </p:nvSpPr>
        <p:spPr>
          <a:xfrm>
            <a:off x="906544" y="1473250"/>
            <a:ext cx="23378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元组</a:t>
            </a:r>
          </a:p>
        </p:txBody>
      </p:sp>
      <p:grpSp>
        <p:nvGrpSpPr>
          <p:cNvPr id="122" name="6eeadca2-d3bc-43bc-9fa2-52366789f17e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C4B618C-0538-45EB-82D4-8D72ED3082F0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83772" y="1357237"/>
            <a:ext cx="4527678" cy="4511450"/>
            <a:chOff x="3832161" y="1436809"/>
            <a:chExt cx="4527678" cy="4511450"/>
          </a:xfrm>
        </p:grpSpPr>
        <p:sp>
          <p:nvSpPr>
            <p:cNvPr id="124" name="iṥliḋê">
              <a:extLst>
                <a:ext uri="{FF2B5EF4-FFF2-40B4-BE49-F238E27FC236}">
                  <a16:creationId xmlns:a16="http://schemas.microsoft.com/office/drawing/2014/main" id="{7669ED26-59B9-414C-A99C-420BCFF6455C}"/>
                </a:ext>
              </a:extLst>
            </p:cNvPr>
            <p:cNvSpPr/>
            <p:nvPr/>
          </p:nvSpPr>
          <p:spPr bwMode="auto">
            <a:xfrm>
              <a:off x="6599075" y="1996685"/>
              <a:ext cx="1371287" cy="973693"/>
            </a:xfrm>
            <a:custGeom>
              <a:avLst/>
              <a:gdLst>
                <a:gd name="T0" fmla="*/ 9 w 169"/>
                <a:gd name="T1" fmla="*/ 120 h 120"/>
                <a:gd name="T2" fmla="*/ 0 w 169"/>
                <a:gd name="T3" fmla="*/ 110 h 120"/>
                <a:gd name="T4" fmla="*/ 163 w 169"/>
                <a:gd name="T5" fmla="*/ 0 h 120"/>
                <a:gd name="T6" fmla="*/ 169 w 169"/>
                <a:gd name="T7" fmla="*/ 12 h 120"/>
                <a:gd name="T8" fmla="*/ 9 w 169"/>
                <a:gd name="T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120">
                  <a:moveTo>
                    <a:pt x="9" y="120"/>
                  </a:moveTo>
                  <a:lnTo>
                    <a:pt x="0" y="110"/>
                  </a:lnTo>
                  <a:lnTo>
                    <a:pt x="163" y="0"/>
                  </a:lnTo>
                  <a:lnTo>
                    <a:pt x="169" y="12"/>
                  </a:lnTo>
                  <a:lnTo>
                    <a:pt x="9" y="120"/>
                  </a:lnTo>
                  <a:close/>
                </a:path>
              </a:pathLst>
            </a:custGeom>
            <a:solidFill>
              <a:srgbClr val="FFC7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îšḻíḋè">
              <a:extLst>
                <a:ext uri="{FF2B5EF4-FFF2-40B4-BE49-F238E27FC236}">
                  <a16:creationId xmlns:a16="http://schemas.microsoft.com/office/drawing/2014/main" id="{B21435DA-04A3-4D50-A052-3EC6D3ECBFB0}"/>
                </a:ext>
              </a:extLst>
            </p:cNvPr>
            <p:cNvSpPr/>
            <p:nvPr/>
          </p:nvSpPr>
          <p:spPr bwMode="auto">
            <a:xfrm>
              <a:off x="6599075" y="1996685"/>
              <a:ext cx="1371287" cy="973693"/>
            </a:xfrm>
            <a:custGeom>
              <a:avLst/>
              <a:gdLst>
                <a:gd name="T0" fmla="*/ 9 w 169"/>
                <a:gd name="T1" fmla="*/ 120 h 120"/>
                <a:gd name="T2" fmla="*/ 0 w 169"/>
                <a:gd name="T3" fmla="*/ 110 h 120"/>
                <a:gd name="T4" fmla="*/ 163 w 169"/>
                <a:gd name="T5" fmla="*/ 0 h 120"/>
                <a:gd name="T6" fmla="*/ 169 w 169"/>
                <a:gd name="T7" fmla="*/ 12 h 120"/>
                <a:gd name="T8" fmla="*/ 9 w 169"/>
                <a:gd name="T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120">
                  <a:moveTo>
                    <a:pt x="9" y="120"/>
                  </a:moveTo>
                  <a:lnTo>
                    <a:pt x="0" y="110"/>
                  </a:lnTo>
                  <a:lnTo>
                    <a:pt x="163" y="0"/>
                  </a:lnTo>
                  <a:lnTo>
                    <a:pt x="169" y="12"/>
                  </a:lnTo>
                  <a:lnTo>
                    <a:pt x="9" y="12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iṡḻïḑè">
              <a:extLst>
                <a:ext uri="{FF2B5EF4-FFF2-40B4-BE49-F238E27FC236}">
                  <a16:creationId xmlns:a16="http://schemas.microsoft.com/office/drawing/2014/main" id="{68FD22CB-61F6-4A2C-BCB3-5DFB9C6EB58E}"/>
                </a:ext>
              </a:extLst>
            </p:cNvPr>
            <p:cNvSpPr/>
            <p:nvPr/>
          </p:nvSpPr>
          <p:spPr bwMode="auto">
            <a:xfrm>
              <a:off x="6639643" y="3376084"/>
              <a:ext cx="1330714" cy="973693"/>
            </a:xfrm>
            <a:custGeom>
              <a:avLst/>
              <a:gdLst>
                <a:gd name="T0" fmla="*/ 158 w 164"/>
                <a:gd name="T1" fmla="*/ 120 h 120"/>
                <a:gd name="T2" fmla="*/ 0 w 164"/>
                <a:gd name="T3" fmla="*/ 10 h 120"/>
                <a:gd name="T4" fmla="*/ 6 w 164"/>
                <a:gd name="T5" fmla="*/ 0 h 120"/>
                <a:gd name="T6" fmla="*/ 164 w 164"/>
                <a:gd name="T7" fmla="*/ 110 h 120"/>
                <a:gd name="T8" fmla="*/ 158 w 164"/>
                <a:gd name="T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20">
                  <a:moveTo>
                    <a:pt x="158" y="120"/>
                  </a:moveTo>
                  <a:lnTo>
                    <a:pt x="0" y="10"/>
                  </a:lnTo>
                  <a:lnTo>
                    <a:pt x="6" y="0"/>
                  </a:lnTo>
                  <a:lnTo>
                    <a:pt x="164" y="110"/>
                  </a:lnTo>
                  <a:lnTo>
                    <a:pt x="158" y="120"/>
                  </a:lnTo>
                  <a:close/>
                </a:path>
              </a:pathLst>
            </a:custGeom>
            <a:solidFill>
              <a:srgbClr val="FFC7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î$ḷíḋe">
              <a:extLst>
                <a:ext uri="{FF2B5EF4-FFF2-40B4-BE49-F238E27FC236}">
                  <a16:creationId xmlns:a16="http://schemas.microsoft.com/office/drawing/2014/main" id="{40A314A8-419B-413E-81E1-5F9FE38A715A}"/>
                </a:ext>
              </a:extLst>
            </p:cNvPr>
            <p:cNvSpPr/>
            <p:nvPr/>
          </p:nvSpPr>
          <p:spPr bwMode="auto">
            <a:xfrm>
              <a:off x="6639643" y="3376084"/>
              <a:ext cx="1330714" cy="973693"/>
            </a:xfrm>
            <a:custGeom>
              <a:avLst/>
              <a:gdLst>
                <a:gd name="T0" fmla="*/ 158 w 164"/>
                <a:gd name="T1" fmla="*/ 120 h 120"/>
                <a:gd name="T2" fmla="*/ 0 w 164"/>
                <a:gd name="T3" fmla="*/ 10 h 120"/>
                <a:gd name="T4" fmla="*/ 6 w 164"/>
                <a:gd name="T5" fmla="*/ 0 h 120"/>
                <a:gd name="T6" fmla="*/ 164 w 164"/>
                <a:gd name="T7" fmla="*/ 110 h 120"/>
                <a:gd name="T8" fmla="*/ 158 w 164"/>
                <a:gd name="T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20">
                  <a:moveTo>
                    <a:pt x="158" y="120"/>
                  </a:moveTo>
                  <a:lnTo>
                    <a:pt x="0" y="10"/>
                  </a:lnTo>
                  <a:lnTo>
                    <a:pt x="6" y="0"/>
                  </a:lnTo>
                  <a:lnTo>
                    <a:pt x="164" y="110"/>
                  </a:lnTo>
                  <a:lnTo>
                    <a:pt x="158" y="12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ïŝḷïḑe">
              <a:extLst>
                <a:ext uri="{FF2B5EF4-FFF2-40B4-BE49-F238E27FC236}">
                  <a16:creationId xmlns:a16="http://schemas.microsoft.com/office/drawing/2014/main" id="{FC9C2E4B-2035-4BF2-80ED-F2BF154BE0A4}"/>
                </a:ext>
              </a:extLst>
            </p:cNvPr>
            <p:cNvSpPr/>
            <p:nvPr/>
          </p:nvSpPr>
          <p:spPr bwMode="auto">
            <a:xfrm>
              <a:off x="5438755" y="1810058"/>
              <a:ext cx="778954" cy="1241461"/>
            </a:xfrm>
            <a:custGeom>
              <a:avLst/>
              <a:gdLst>
                <a:gd name="T0" fmla="*/ 83 w 96"/>
                <a:gd name="T1" fmla="*/ 153 h 153"/>
                <a:gd name="T2" fmla="*/ 0 w 96"/>
                <a:gd name="T3" fmla="*/ 6 h 153"/>
                <a:gd name="T4" fmla="*/ 12 w 96"/>
                <a:gd name="T5" fmla="*/ 0 h 153"/>
                <a:gd name="T6" fmla="*/ 96 w 96"/>
                <a:gd name="T7" fmla="*/ 147 h 153"/>
                <a:gd name="T8" fmla="*/ 83 w 96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153">
                  <a:moveTo>
                    <a:pt x="83" y="153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96" y="147"/>
                  </a:lnTo>
                  <a:lnTo>
                    <a:pt x="83" y="153"/>
                  </a:lnTo>
                  <a:close/>
                </a:path>
              </a:pathLst>
            </a:custGeom>
            <a:solidFill>
              <a:srgbClr val="FFC7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ïṩḻíďè">
              <a:extLst>
                <a:ext uri="{FF2B5EF4-FFF2-40B4-BE49-F238E27FC236}">
                  <a16:creationId xmlns:a16="http://schemas.microsoft.com/office/drawing/2014/main" id="{09E9B9DC-76CF-4B85-A988-B9F6B19E280C}"/>
                </a:ext>
              </a:extLst>
            </p:cNvPr>
            <p:cNvSpPr/>
            <p:nvPr/>
          </p:nvSpPr>
          <p:spPr bwMode="auto">
            <a:xfrm>
              <a:off x="6282622" y="3538366"/>
              <a:ext cx="421934" cy="1030494"/>
            </a:xfrm>
            <a:custGeom>
              <a:avLst/>
              <a:gdLst>
                <a:gd name="T0" fmla="*/ 39 w 52"/>
                <a:gd name="T1" fmla="*/ 127 h 127"/>
                <a:gd name="T2" fmla="*/ 0 w 52"/>
                <a:gd name="T3" fmla="*/ 5 h 127"/>
                <a:gd name="T4" fmla="*/ 12 w 52"/>
                <a:gd name="T5" fmla="*/ 0 h 127"/>
                <a:gd name="T6" fmla="*/ 52 w 52"/>
                <a:gd name="T7" fmla="*/ 123 h 127"/>
                <a:gd name="T8" fmla="*/ 39 w 52"/>
                <a:gd name="T9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127">
                  <a:moveTo>
                    <a:pt x="39" y="127"/>
                  </a:moveTo>
                  <a:lnTo>
                    <a:pt x="0" y="5"/>
                  </a:lnTo>
                  <a:lnTo>
                    <a:pt x="12" y="0"/>
                  </a:lnTo>
                  <a:lnTo>
                    <a:pt x="52" y="123"/>
                  </a:lnTo>
                  <a:lnTo>
                    <a:pt x="39" y="127"/>
                  </a:lnTo>
                  <a:close/>
                </a:path>
              </a:pathLst>
            </a:custGeom>
            <a:solidFill>
              <a:srgbClr val="FFC7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ïṣļiḑe">
              <a:extLst>
                <a:ext uri="{FF2B5EF4-FFF2-40B4-BE49-F238E27FC236}">
                  <a16:creationId xmlns:a16="http://schemas.microsoft.com/office/drawing/2014/main" id="{895492D4-2AC3-4D23-A62D-C85B2FDFFCDF}"/>
                </a:ext>
              </a:extLst>
            </p:cNvPr>
            <p:cNvSpPr/>
            <p:nvPr/>
          </p:nvSpPr>
          <p:spPr bwMode="auto">
            <a:xfrm>
              <a:off x="6282622" y="3538366"/>
              <a:ext cx="421934" cy="1030494"/>
            </a:xfrm>
            <a:custGeom>
              <a:avLst/>
              <a:gdLst>
                <a:gd name="T0" fmla="*/ 39 w 52"/>
                <a:gd name="T1" fmla="*/ 127 h 127"/>
                <a:gd name="T2" fmla="*/ 0 w 52"/>
                <a:gd name="T3" fmla="*/ 5 h 127"/>
                <a:gd name="T4" fmla="*/ 12 w 52"/>
                <a:gd name="T5" fmla="*/ 0 h 127"/>
                <a:gd name="T6" fmla="*/ 52 w 52"/>
                <a:gd name="T7" fmla="*/ 123 h 127"/>
                <a:gd name="T8" fmla="*/ 39 w 52"/>
                <a:gd name="T9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127">
                  <a:moveTo>
                    <a:pt x="39" y="127"/>
                  </a:moveTo>
                  <a:lnTo>
                    <a:pt x="0" y="5"/>
                  </a:lnTo>
                  <a:lnTo>
                    <a:pt x="12" y="0"/>
                  </a:lnTo>
                  <a:lnTo>
                    <a:pt x="52" y="123"/>
                  </a:lnTo>
                  <a:lnTo>
                    <a:pt x="39" y="12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íśļïde">
              <a:extLst>
                <a:ext uri="{FF2B5EF4-FFF2-40B4-BE49-F238E27FC236}">
                  <a16:creationId xmlns:a16="http://schemas.microsoft.com/office/drawing/2014/main" id="{F313F9ED-BD0F-44F0-BBC1-402D59B3314B}"/>
                </a:ext>
              </a:extLst>
            </p:cNvPr>
            <p:cNvSpPr/>
            <p:nvPr/>
          </p:nvSpPr>
          <p:spPr bwMode="auto">
            <a:xfrm>
              <a:off x="4294668" y="3303054"/>
              <a:ext cx="1647167" cy="105486"/>
            </a:xfrm>
            <a:prstGeom prst="rect">
              <a:avLst/>
            </a:prstGeom>
            <a:solidFill>
              <a:srgbClr val="FFC7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ïṧḻiḋe">
              <a:extLst>
                <a:ext uri="{FF2B5EF4-FFF2-40B4-BE49-F238E27FC236}">
                  <a16:creationId xmlns:a16="http://schemas.microsoft.com/office/drawing/2014/main" id="{F9EF80FF-C401-496E-9A5A-E9511B1AB015}"/>
                </a:ext>
              </a:extLst>
            </p:cNvPr>
            <p:cNvSpPr/>
            <p:nvPr/>
          </p:nvSpPr>
          <p:spPr bwMode="auto">
            <a:xfrm>
              <a:off x="5438755" y="3627619"/>
              <a:ext cx="778954" cy="1971731"/>
            </a:xfrm>
            <a:custGeom>
              <a:avLst/>
              <a:gdLst>
                <a:gd name="T0" fmla="*/ 12 w 96"/>
                <a:gd name="T1" fmla="*/ 243 h 243"/>
                <a:gd name="T2" fmla="*/ 0 w 96"/>
                <a:gd name="T3" fmla="*/ 239 h 243"/>
                <a:gd name="T4" fmla="*/ 83 w 96"/>
                <a:gd name="T5" fmla="*/ 0 h 243"/>
                <a:gd name="T6" fmla="*/ 96 w 96"/>
                <a:gd name="T7" fmla="*/ 4 h 243"/>
                <a:gd name="T8" fmla="*/ 12 w 96"/>
                <a:gd name="T9" fmla="*/ 24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243">
                  <a:moveTo>
                    <a:pt x="12" y="243"/>
                  </a:moveTo>
                  <a:lnTo>
                    <a:pt x="0" y="239"/>
                  </a:lnTo>
                  <a:lnTo>
                    <a:pt x="83" y="0"/>
                  </a:lnTo>
                  <a:lnTo>
                    <a:pt x="96" y="4"/>
                  </a:lnTo>
                  <a:lnTo>
                    <a:pt x="12" y="243"/>
                  </a:lnTo>
                  <a:close/>
                </a:path>
              </a:pathLst>
            </a:custGeom>
            <a:solidFill>
              <a:srgbClr val="FFC7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iṧľiḋè">
              <a:extLst>
                <a:ext uri="{FF2B5EF4-FFF2-40B4-BE49-F238E27FC236}">
                  <a16:creationId xmlns:a16="http://schemas.microsoft.com/office/drawing/2014/main" id="{88A680D2-77EC-4BC9-BFD9-4E188AF0B666}"/>
                </a:ext>
              </a:extLst>
            </p:cNvPr>
            <p:cNvSpPr/>
            <p:nvPr/>
          </p:nvSpPr>
          <p:spPr bwMode="auto">
            <a:xfrm>
              <a:off x="7662021" y="1720805"/>
              <a:ext cx="559876" cy="559876"/>
            </a:xfrm>
            <a:prstGeom prst="ellipse">
              <a:avLst/>
            </a:prstGeom>
            <a:solidFill>
              <a:srgbClr val="23B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iṧlïḍê">
              <a:extLst>
                <a:ext uri="{FF2B5EF4-FFF2-40B4-BE49-F238E27FC236}">
                  <a16:creationId xmlns:a16="http://schemas.microsoft.com/office/drawing/2014/main" id="{CEFD4986-2D8D-4226-9C62-4A80DD0011B4}"/>
                </a:ext>
              </a:extLst>
            </p:cNvPr>
            <p:cNvSpPr/>
            <p:nvPr/>
          </p:nvSpPr>
          <p:spPr bwMode="auto">
            <a:xfrm>
              <a:off x="7767506" y="4114465"/>
              <a:ext cx="592333" cy="592333"/>
            </a:xfrm>
            <a:prstGeom prst="ellipse">
              <a:avLst/>
            </a:prstGeom>
            <a:solidFill>
              <a:srgbClr val="F78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íšľîďê">
              <a:extLst>
                <a:ext uri="{FF2B5EF4-FFF2-40B4-BE49-F238E27FC236}">
                  <a16:creationId xmlns:a16="http://schemas.microsoft.com/office/drawing/2014/main" id="{E9618026-755B-49E9-BC79-A249C2E1B19B}"/>
                </a:ext>
              </a:extLst>
            </p:cNvPr>
            <p:cNvSpPr/>
            <p:nvPr/>
          </p:nvSpPr>
          <p:spPr bwMode="auto">
            <a:xfrm>
              <a:off x="6453021" y="4349777"/>
              <a:ext cx="405705" cy="405705"/>
            </a:xfrm>
            <a:prstGeom prst="ellipse">
              <a:avLst/>
            </a:prstGeom>
            <a:solidFill>
              <a:srgbClr val="23B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ïṥļîḋê">
              <a:extLst>
                <a:ext uri="{FF2B5EF4-FFF2-40B4-BE49-F238E27FC236}">
                  <a16:creationId xmlns:a16="http://schemas.microsoft.com/office/drawing/2014/main" id="{D8279C16-A7E2-4672-B665-12BF67CEC849}"/>
                </a:ext>
              </a:extLst>
            </p:cNvPr>
            <p:cNvSpPr/>
            <p:nvPr/>
          </p:nvSpPr>
          <p:spPr bwMode="auto">
            <a:xfrm>
              <a:off x="5235904" y="1436809"/>
              <a:ext cx="503075" cy="503075"/>
            </a:xfrm>
            <a:prstGeom prst="ellipse">
              <a:avLst/>
            </a:prstGeom>
            <a:solidFill>
              <a:srgbClr val="F78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îsļîdê">
              <a:extLst>
                <a:ext uri="{FF2B5EF4-FFF2-40B4-BE49-F238E27FC236}">
                  <a16:creationId xmlns:a16="http://schemas.microsoft.com/office/drawing/2014/main" id="{8EC640AF-F6DF-4737-8ADE-A92A36FC8695}"/>
                </a:ext>
              </a:extLst>
            </p:cNvPr>
            <p:cNvSpPr/>
            <p:nvPr/>
          </p:nvSpPr>
          <p:spPr bwMode="auto">
            <a:xfrm>
              <a:off x="3832161" y="3124544"/>
              <a:ext cx="592333" cy="600444"/>
            </a:xfrm>
            <a:prstGeom prst="ellipse">
              <a:avLst/>
            </a:prstGeom>
            <a:solidFill>
              <a:srgbClr val="23B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iṣlïḋe">
              <a:extLst>
                <a:ext uri="{FF2B5EF4-FFF2-40B4-BE49-F238E27FC236}">
                  <a16:creationId xmlns:a16="http://schemas.microsoft.com/office/drawing/2014/main" id="{AE579E66-B92C-405F-9988-FDAD2590CDF4}"/>
                </a:ext>
              </a:extLst>
            </p:cNvPr>
            <p:cNvSpPr/>
            <p:nvPr/>
          </p:nvSpPr>
          <p:spPr bwMode="auto">
            <a:xfrm>
              <a:off x="5097962" y="5307242"/>
              <a:ext cx="641017" cy="641017"/>
            </a:xfrm>
            <a:prstGeom prst="ellipse">
              <a:avLst/>
            </a:prstGeom>
            <a:solidFill>
              <a:srgbClr val="F78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iṧliḓê">
              <a:extLst>
                <a:ext uri="{FF2B5EF4-FFF2-40B4-BE49-F238E27FC236}">
                  <a16:creationId xmlns:a16="http://schemas.microsoft.com/office/drawing/2014/main" id="{9CD3EF7F-E8C2-4221-8D93-8A94F432C69D}"/>
                </a:ext>
              </a:extLst>
            </p:cNvPr>
            <p:cNvSpPr/>
            <p:nvPr/>
          </p:nvSpPr>
          <p:spPr bwMode="auto">
            <a:xfrm>
              <a:off x="3905191" y="3189457"/>
              <a:ext cx="186627" cy="17039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ïṩḷïḍè">
              <a:extLst>
                <a:ext uri="{FF2B5EF4-FFF2-40B4-BE49-F238E27FC236}">
                  <a16:creationId xmlns:a16="http://schemas.microsoft.com/office/drawing/2014/main" id="{AF8F2A4D-65A7-4CE8-BF98-C99B42319AA9}"/>
                </a:ext>
              </a:extLst>
            </p:cNvPr>
            <p:cNvSpPr/>
            <p:nvPr/>
          </p:nvSpPr>
          <p:spPr bwMode="auto">
            <a:xfrm>
              <a:off x="5284589" y="1501722"/>
              <a:ext cx="186627" cy="17039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îśḻiḍé">
              <a:extLst>
                <a:ext uri="{FF2B5EF4-FFF2-40B4-BE49-F238E27FC236}">
                  <a16:creationId xmlns:a16="http://schemas.microsoft.com/office/drawing/2014/main" id="{887E83C7-F4E1-4D47-A38D-093ADBA48C09}"/>
                </a:ext>
              </a:extLst>
            </p:cNvPr>
            <p:cNvSpPr/>
            <p:nvPr/>
          </p:nvSpPr>
          <p:spPr bwMode="auto">
            <a:xfrm>
              <a:off x="7735050" y="1777602"/>
              <a:ext cx="219084" cy="21908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íṩļíḑe">
              <a:extLst>
                <a:ext uri="{FF2B5EF4-FFF2-40B4-BE49-F238E27FC236}">
                  <a16:creationId xmlns:a16="http://schemas.microsoft.com/office/drawing/2014/main" id="{9A73578D-438E-4003-B943-937A6D672EA6}"/>
                </a:ext>
              </a:extLst>
            </p:cNvPr>
            <p:cNvSpPr/>
            <p:nvPr/>
          </p:nvSpPr>
          <p:spPr bwMode="auto">
            <a:xfrm>
              <a:off x="7832419" y="4195606"/>
              <a:ext cx="219084" cy="21908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ïṥḷíḑê">
              <a:extLst>
                <a:ext uri="{FF2B5EF4-FFF2-40B4-BE49-F238E27FC236}">
                  <a16:creationId xmlns:a16="http://schemas.microsoft.com/office/drawing/2014/main" id="{5664F7E5-99B2-4968-A0FF-EE80CB8E04C6}"/>
                </a:ext>
              </a:extLst>
            </p:cNvPr>
            <p:cNvSpPr/>
            <p:nvPr/>
          </p:nvSpPr>
          <p:spPr bwMode="auto">
            <a:xfrm>
              <a:off x="5187220" y="5396494"/>
              <a:ext cx="146054" cy="14605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íṣḷiḑe">
              <a:extLst>
                <a:ext uri="{FF2B5EF4-FFF2-40B4-BE49-F238E27FC236}">
                  <a16:creationId xmlns:a16="http://schemas.microsoft.com/office/drawing/2014/main" id="{B813DD30-DE30-440D-8BCD-7E2835451E71}"/>
                </a:ext>
              </a:extLst>
            </p:cNvPr>
            <p:cNvSpPr/>
            <p:nvPr/>
          </p:nvSpPr>
          <p:spPr bwMode="auto">
            <a:xfrm>
              <a:off x="6517934" y="4398462"/>
              <a:ext cx="121714" cy="1217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îṧḷïḓé">
              <a:extLst>
                <a:ext uri="{FF2B5EF4-FFF2-40B4-BE49-F238E27FC236}">
                  <a16:creationId xmlns:a16="http://schemas.microsoft.com/office/drawing/2014/main" id="{CE8341E1-D8D3-45C2-8573-67C5D67FCA71}"/>
                </a:ext>
              </a:extLst>
            </p:cNvPr>
            <p:cNvSpPr/>
            <p:nvPr/>
          </p:nvSpPr>
          <p:spPr bwMode="auto">
            <a:xfrm>
              <a:off x="5592925" y="2499760"/>
              <a:ext cx="1501113" cy="1492996"/>
            </a:xfrm>
            <a:prstGeom prst="ellipse">
              <a:avLst/>
            </a:pr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iṧḷídé">
              <a:extLst>
                <a:ext uri="{FF2B5EF4-FFF2-40B4-BE49-F238E27FC236}">
                  <a16:creationId xmlns:a16="http://schemas.microsoft.com/office/drawing/2014/main" id="{1B24978A-74BD-4738-A570-6DF05B97F8F0}"/>
                </a:ext>
              </a:extLst>
            </p:cNvPr>
            <p:cNvSpPr/>
            <p:nvPr/>
          </p:nvSpPr>
          <p:spPr bwMode="auto">
            <a:xfrm>
              <a:off x="5860688" y="2799979"/>
              <a:ext cx="421934" cy="4381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ï$lîḍé">
              <a:extLst>
                <a:ext uri="{FF2B5EF4-FFF2-40B4-BE49-F238E27FC236}">
                  <a16:creationId xmlns:a16="http://schemas.microsoft.com/office/drawing/2014/main" id="{4BAD0465-C33D-46CE-B2C8-C4BDC5D6ACE4}"/>
                </a:ext>
              </a:extLst>
            </p:cNvPr>
            <p:cNvSpPr/>
            <p:nvPr/>
          </p:nvSpPr>
          <p:spPr bwMode="auto">
            <a:xfrm>
              <a:off x="6858726" y="1996685"/>
              <a:ext cx="843867" cy="722158"/>
            </a:xfrm>
            <a:prstGeom prst="rect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îṣlidè">
              <a:extLst>
                <a:ext uri="{FF2B5EF4-FFF2-40B4-BE49-F238E27FC236}">
                  <a16:creationId xmlns:a16="http://schemas.microsoft.com/office/drawing/2014/main" id="{FB4E2CC6-A64B-4A30-8541-ACA0C5C71299}"/>
                </a:ext>
              </a:extLst>
            </p:cNvPr>
            <p:cNvSpPr/>
            <p:nvPr/>
          </p:nvSpPr>
          <p:spPr bwMode="auto">
            <a:xfrm>
              <a:off x="6858726" y="2142739"/>
              <a:ext cx="908780" cy="641017"/>
            </a:xfrm>
            <a:custGeom>
              <a:avLst/>
              <a:gdLst>
                <a:gd name="T0" fmla="*/ 50 w 54"/>
                <a:gd name="T1" fmla="*/ 0 h 38"/>
                <a:gd name="T2" fmla="*/ 0 w 54"/>
                <a:gd name="T3" fmla="*/ 34 h 38"/>
                <a:gd name="T4" fmla="*/ 4 w 54"/>
                <a:gd name="T5" fmla="*/ 38 h 38"/>
                <a:gd name="T6" fmla="*/ 54 w 54"/>
                <a:gd name="T7" fmla="*/ 5 h 38"/>
                <a:gd name="T8" fmla="*/ 50 w 54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38">
                  <a:moveTo>
                    <a:pt x="50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2" y="35"/>
                    <a:pt x="3" y="37"/>
                    <a:pt x="4" y="38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3" y="3"/>
                    <a:pt x="51" y="2"/>
                    <a:pt x="50" y="0"/>
                  </a:cubicBezTo>
                </a:path>
              </a:pathLst>
            </a:custGeom>
            <a:solidFill>
              <a:srgbClr val="F3BE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iṡḻïḋê">
              <a:extLst>
                <a:ext uri="{FF2B5EF4-FFF2-40B4-BE49-F238E27FC236}">
                  <a16:creationId xmlns:a16="http://schemas.microsoft.com/office/drawing/2014/main" id="{405BEEDD-2408-4A68-9D37-2A6DCD147154}"/>
                </a:ext>
              </a:extLst>
            </p:cNvPr>
            <p:cNvSpPr/>
            <p:nvPr/>
          </p:nvSpPr>
          <p:spPr bwMode="auto">
            <a:xfrm>
              <a:off x="7937900" y="22806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îṩḷïḍé">
              <a:extLst>
                <a:ext uri="{FF2B5EF4-FFF2-40B4-BE49-F238E27FC236}">
                  <a16:creationId xmlns:a16="http://schemas.microsoft.com/office/drawing/2014/main" id="{97562D85-D331-4FF9-BB40-53070EE2832E}"/>
                </a:ext>
              </a:extLst>
            </p:cNvPr>
            <p:cNvSpPr/>
            <p:nvPr/>
          </p:nvSpPr>
          <p:spPr bwMode="auto">
            <a:xfrm>
              <a:off x="7662021" y="1720805"/>
              <a:ext cx="559876" cy="559876"/>
            </a:xfrm>
            <a:custGeom>
              <a:avLst/>
              <a:gdLst>
                <a:gd name="T0" fmla="*/ 11 w 33"/>
                <a:gd name="T1" fmla="*/ 16 h 33"/>
                <a:gd name="T2" fmla="*/ 4 w 33"/>
                <a:gd name="T3" fmla="*/ 10 h 33"/>
                <a:gd name="T4" fmla="*/ 11 w 33"/>
                <a:gd name="T5" fmla="*/ 3 h 33"/>
                <a:gd name="T6" fmla="*/ 17 w 33"/>
                <a:gd name="T7" fmla="*/ 10 h 33"/>
                <a:gd name="T8" fmla="*/ 11 w 33"/>
                <a:gd name="T9" fmla="*/ 16 h 33"/>
                <a:gd name="T10" fmla="*/ 16 w 33"/>
                <a:gd name="T11" fmla="*/ 0 h 33"/>
                <a:gd name="T12" fmla="*/ 0 w 33"/>
                <a:gd name="T13" fmla="*/ 16 h 33"/>
                <a:gd name="T14" fmla="*/ 0 w 33"/>
                <a:gd name="T15" fmla="*/ 16 h 33"/>
                <a:gd name="T16" fmla="*/ 0 w 33"/>
                <a:gd name="T17" fmla="*/ 16 h 33"/>
                <a:gd name="T18" fmla="*/ 2 w 33"/>
                <a:gd name="T19" fmla="*/ 25 h 33"/>
                <a:gd name="T20" fmla="*/ 2 w 33"/>
                <a:gd name="T21" fmla="*/ 25 h 33"/>
                <a:gd name="T22" fmla="*/ 2 w 33"/>
                <a:gd name="T23" fmla="*/ 25 h 33"/>
                <a:gd name="T24" fmla="*/ 6 w 33"/>
                <a:gd name="T25" fmla="*/ 30 h 33"/>
                <a:gd name="T26" fmla="*/ 7 w 33"/>
                <a:gd name="T27" fmla="*/ 29 h 33"/>
                <a:gd name="T28" fmla="*/ 16 w 33"/>
                <a:gd name="T29" fmla="*/ 33 h 33"/>
                <a:gd name="T30" fmla="*/ 16 w 33"/>
                <a:gd name="T31" fmla="*/ 33 h 33"/>
                <a:gd name="T32" fmla="*/ 16 w 33"/>
                <a:gd name="T33" fmla="*/ 33 h 33"/>
                <a:gd name="T34" fmla="*/ 16 w 33"/>
                <a:gd name="T35" fmla="*/ 33 h 33"/>
                <a:gd name="T36" fmla="*/ 16 w 33"/>
                <a:gd name="T37" fmla="*/ 33 h 33"/>
                <a:gd name="T38" fmla="*/ 16 w 33"/>
                <a:gd name="T39" fmla="*/ 33 h 33"/>
                <a:gd name="T40" fmla="*/ 16 w 33"/>
                <a:gd name="T41" fmla="*/ 33 h 33"/>
                <a:gd name="T42" fmla="*/ 33 w 33"/>
                <a:gd name="T43" fmla="*/ 16 h 33"/>
                <a:gd name="T44" fmla="*/ 16 w 33"/>
                <a:gd name="T4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" h="33">
                  <a:moveTo>
                    <a:pt x="11" y="16"/>
                  </a:moveTo>
                  <a:cubicBezTo>
                    <a:pt x="7" y="16"/>
                    <a:pt x="4" y="13"/>
                    <a:pt x="4" y="10"/>
                  </a:cubicBezTo>
                  <a:cubicBezTo>
                    <a:pt x="4" y="6"/>
                    <a:pt x="7" y="3"/>
                    <a:pt x="11" y="3"/>
                  </a:cubicBezTo>
                  <a:cubicBezTo>
                    <a:pt x="14" y="3"/>
                    <a:pt x="17" y="6"/>
                    <a:pt x="17" y="10"/>
                  </a:cubicBezTo>
                  <a:cubicBezTo>
                    <a:pt x="17" y="13"/>
                    <a:pt x="14" y="16"/>
                    <a:pt x="11" y="16"/>
                  </a:cubicBezTo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9"/>
                    <a:pt x="1" y="22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7"/>
                    <a:pt x="5" y="28"/>
                    <a:pt x="6" y="30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9" y="32"/>
                    <a:pt x="13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26" y="33"/>
                    <a:pt x="33" y="26"/>
                    <a:pt x="33" y="16"/>
                  </a:cubicBezTo>
                  <a:cubicBezTo>
                    <a:pt x="33" y="7"/>
                    <a:pt x="26" y="0"/>
                    <a:pt x="16" y="0"/>
                  </a:cubicBezTo>
                </a:path>
              </a:pathLst>
            </a:custGeom>
            <a:solidFill>
              <a:srgbClr val="21AB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ïṥḷïḋê">
              <a:extLst>
                <a:ext uri="{FF2B5EF4-FFF2-40B4-BE49-F238E27FC236}">
                  <a16:creationId xmlns:a16="http://schemas.microsoft.com/office/drawing/2014/main" id="{EE6CD0D4-115E-4D6C-925D-EBBEF42C7C55}"/>
                </a:ext>
              </a:extLst>
            </p:cNvPr>
            <p:cNvSpPr/>
            <p:nvPr/>
          </p:nvSpPr>
          <p:spPr bwMode="auto">
            <a:xfrm>
              <a:off x="7735050" y="1777602"/>
              <a:ext cx="219084" cy="219084"/>
            </a:xfrm>
            <a:prstGeom prst="ellipse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íṥļïḑè">
              <a:extLst>
                <a:ext uri="{FF2B5EF4-FFF2-40B4-BE49-F238E27FC236}">
                  <a16:creationId xmlns:a16="http://schemas.microsoft.com/office/drawing/2014/main" id="{156C3755-6954-4F58-8660-DD0661BFDE1C}"/>
                </a:ext>
              </a:extLst>
            </p:cNvPr>
            <p:cNvSpPr/>
            <p:nvPr/>
          </p:nvSpPr>
          <p:spPr bwMode="auto">
            <a:xfrm>
              <a:off x="6331307" y="2499760"/>
              <a:ext cx="2028527" cy="1914930"/>
            </a:xfrm>
            <a:custGeom>
              <a:avLst/>
              <a:gdLst>
                <a:gd name="T0" fmla="*/ 85 w 120"/>
                <a:gd name="T1" fmla="*/ 114 h 114"/>
                <a:gd name="T2" fmla="*/ 85 w 120"/>
                <a:gd name="T3" fmla="*/ 114 h 114"/>
                <a:gd name="T4" fmla="*/ 85 w 120"/>
                <a:gd name="T5" fmla="*/ 114 h 114"/>
                <a:gd name="T6" fmla="*/ 102 w 120"/>
                <a:gd name="T7" fmla="*/ 96 h 114"/>
                <a:gd name="T8" fmla="*/ 102 w 120"/>
                <a:gd name="T9" fmla="*/ 96 h 114"/>
                <a:gd name="T10" fmla="*/ 102 w 120"/>
                <a:gd name="T11" fmla="*/ 96 h 114"/>
                <a:gd name="T12" fmla="*/ 102 w 120"/>
                <a:gd name="T13" fmla="*/ 96 h 114"/>
                <a:gd name="T14" fmla="*/ 102 w 120"/>
                <a:gd name="T15" fmla="*/ 96 h 114"/>
                <a:gd name="T16" fmla="*/ 102 w 120"/>
                <a:gd name="T17" fmla="*/ 96 h 114"/>
                <a:gd name="T18" fmla="*/ 120 w 120"/>
                <a:gd name="T19" fmla="*/ 114 h 114"/>
                <a:gd name="T20" fmla="*/ 120 w 120"/>
                <a:gd name="T21" fmla="*/ 114 h 114"/>
                <a:gd name="T22" fmla="*/ 102 w 120"/>
                <a:gd name="T23" fmla="*/ 96 h 114"/>
                <a:gd name="T24" fmla="*/ 55 w 120"/>
                <a:gd name="T25" fmla="*/ 83 h 114"/>
                <a:gd name="T26" fmla="*/ 87 w 120"/>
                <a:gd name="T27" fmla="*/ 105 h 114"/>
                <a:gd name="T28" fmla="*/ 87 w 120"/>
                <a:gd name="T29" fmla="*/ 105 h 114"/>
                <a:gd name="T30" fmla="*/ 55 w 120"/>
                <a:gd name="T31" fmla="*/ 83 h 114"/>
                <a:gd name="T32" fmla="*/ 45 w 120"/>
                <a:gd name="T33" fmla="*/ 45 h 114"/>
                <a:gd name="T34" fmla="*/ 45 w 120"/>
                <a:gd name="T35" fmla="*/ 45 h 114"/>
                <a:gd name="T36" fmla="*/ 45 w 120"/>
                <a:gd name="T37" fmla="*/ 45 h 114"/>
                <a:gd name="T38" fmla="*/ 45 w 120"/>
                <a:gd name="T39" fmla="*/ 45 h 114"/>
                <a:gd name="T40" fmla="*/ 45 w 120"/>
                <a:gd name="T41" fmla="*/ 45 h 114"/>
                <a:gd name="T42" fmla="*/ 45 w 120"/>
                <a:gd name="T43" fmla="*/ 45 h 114"/>
                <a:gd name="T44" fmla="*/ 45 w 120"/>
                <a:gd name="T45" fmla="*/ 45 h 114"/>
                <a:gd name="T46" fmla="*/ 45 w 120"/>
                <a:gd name="T47" fmla="*/ 45 h 114"/>
                <a:gd name="T48" fmla="*/ 45 w 120"/>
                <a:gd name="T49" fmla="*/ 45 h 114"/>
                <a:gd name="T50" fmla="*/ 45 w 120"/>
                <a:gd name="T51" fmla="*/ 44 h 114"/>
                <a:gd name="T52" fmla="*/ 45 w 120"/>
                <a:gd name="T53" fmla="*/ 44 h 114"/>
                <a:gd name="T54" fmla="*/ 45 w 120"/>
                <a:gd name="T55" fmla="*/ 44 h 114"/>
                <a:gd name="T56" fmla="*/ 45 w 120"/>
                <a:gd name="T57" fmla="*/ 44 h 114"/>
                <a:gd name="T58" fmla="*/ 45 w 120"/>
                <a:gd name="T59" fmla="*/ 44 h 114"/>
                <a:gd name="T60" fmla="*/ 45 w 120"/>
                <a:gd name="T61" fmla="*/ 44 h 114"/>
                <a:gd name="T62" fmla="*/ 1 w 120"/>
                <a:gd name="T63" fmla="*/ 0 h 114"/>
                <a:gd name="T64" fmla="*/ 1 w 120"/>
                <a:gd name="T65" fmla="*/ 0 h 114"/>
                <a:gd name="T66" fmla="*/ 1 w 120"/>
                <a:gd name="T67" fmla="*/ 0 h 114"/>
                <a:gd name="T68" fmla="*/ 1 w 120"/>
                <a:gd name="T69" fmla="*/ 0 h 114"/>
                <a:gd name="T70" fmla="*/ 1 w 120"/>
                <a:gd name="T71" fmla="*/ 0 h 114"/>
                <a:gd name="T72" fmla="*/ 1 w 120"/>
                <a:gd name="T73" fmla="*/ 0 h 114"/>
                <a:gd name="T74" fmla="*/ 0 w 120"/>
                <a:gd name="T75" fmla="*/ 0 h 114"/>
                <a:gd name="T76" fmla="*/ 1 w 120"/>
                <a:gd name="T77" fmla="*/ 0 h 114"/>
                <a:gd name="T78" fmla="*/ 0 w 120"/>
                <a:gd name="T79" fmla="*/ 0 h 114"/>
                <a:gd name="T80" fmla="*/ 0 w 120"/>
                <a:gd name="T81" fmla="*/ 0 h 114"/>
                <a:gd name="T82" fmla="*/ 0 w 120"/>
                <a:gd name="T83" fmla="*/ 0 h 114"/>
                <a:gd name="T84" fmla="*/ 0 w 120"/>
                <a:gd name="T85" fmla="*/ 0 h 114"/>
                <a:gd name="T86" fmla="*/ 0 w 120"/>
                <a:gd name="T87" fmla="*/ 0 h 114"/>
                <a:gd name="T88" fmla="*/ 0 w 120"/>
                <a:gd name="T89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0" h="114">
                  <a:moveTo>
                    <a:pt x="85" y="114"/>
                  </a:moveTo>
                  <a:cubicBezTo>
                    <a:pt x="85" y="114"/>
                    <a:pt x="85" y="114"/>
                    <a:pt x="85" y="114"/>
                  </a:cubicBezTo>
                  <a:cubicBezTo>
                    <a:pt x="85" y="114"/>
                    <a:pt x="85" y="114"/>
                    <a:pt x="85" y="114"/>
                  </a:cubicBezTo>
                  <a:moveTo>
                    <a:pt x="102" y="96"/>
                  </a:moveTo>
                  <a:cubicBezTo>
                    <a:pt x="102" y="96"/>
                    <a:pt x="102" y="96"/>
                    <a:pt x="102" y="96"/>
                  </a:cubicBezTo>
                  <a:cubicBezTo>
                    <a:pt x="102" y="96"/>
                    <a:pt x="102" y="96"/>
                    <a:pt x="102" y="96"/>
                  </a:cubicBezTo>
                  <a:moveTo>
                    <a:pt x="102" y="96"/>
                  </a:moveTo>
                  <a:cubicBezTo>
                    <a:pt x="102" y="96"/>
                    <a:pt x="102" y="96"/>
                    <a:pt x="102" y="96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112" y="96"/>
                    <a:pt x="120" y="104"/>
                    <a:pt x="120" y="114"/>
                  </a:cubicBezTo>
                  <a:cubicBezTo>
                    <a:pt x="120" y="114"/>
                    <a:pt x="120" y="114"/>
                    <a:pt x="120" y="114"/>
                  </a:cubicBezTo>
                  <a:cubicBezTo>
                    <a:pt x="120" y="104"/>
                    <a:pt x="112" y="96"/>
                    <a:pt x="102" y="96"/>
                  </a:cubicBezTo>
                  <a:moveTo>
                    <a:pt x="55" y="83"/>
                  </a:move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55" y="83"/>
                    <a:pt x="55" y="83"/>
                    <a:pt x="55" y="83"/>
                  </a:cubicBezTo>
                  <a:moveTo>
                    <a:pt x="45" y="45"/>
                  </a:move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moveTo>
                    <a:pt x="45" y="45"/>
                  </a:move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moveTo>
                    <a:pt x="45" y="45"/>
                  </a:move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moveTo>
                    <a:pt x="45" y="44"/>
                  </a:move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moveTo>
                    <a:pt x="45" y="44"/>
                  </a:move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îš1ïḑê">
              <a:extLst>
                <a:ext uri="{FF2B5EF4-FFF2-40B4-BE49-F238E27FC236}">
                  <a16:creationId xmlns:a16="http://schemas.microsoft.com/office/drawing/2014/main" id="{65F91610-0E0D-4689-8C50-5C4C7BFB0F70}"/>
                </a:ext>
              </a:extLst>
            </p:cNvPr>
            <p:cNvSpPr/>
            <p:nvPr/>
          </p:nvSpPr>
          <p:spPr bwMode="auto">
            <a:xfrm>
              <a:off x="6939867" y="3595162"/>
              <a:ext cx="925008" cy="673474"/>
            </a:xfrm>
            <a:custGeom>
              <a:avLst/>
              <a:gdLst>
                <a:gd name="T0" fmla="*/ 4 w 55"/>
                <a:gd name="T1" fmla="*/ 0 h 40"/>
                <a:gd name="T2" fmla="*/ 0 w 55"/>
                <a:gd name="T3" fmla="*/ 5 h 40"/>
                <a:gd name="T4" fmla="*/ 19 w 55"/>
                <a:gd name="T5" fmla="*/ 18 h 40"/>
                <a:gd name="T6" fmla="*/ 51 w 55"/>
                <a:gd name="T7" fmla="*/ 40 h 40"/>
                <a:gd name="T8" fmla="*/ 55 w 55"/>
                <a:gd name="T9" fmla="*/ 35 h 40"/>
                <a:gd name="T10" fmla="*/ 4 w 55"/>
                <a:gd name="T1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40">
                  <a:moveTo>
                    <a:pt x="4" y="0"/>
                  </a:moveTo>
                  <a:cubicBezTo>
                    <a:pt x="3" y="2"/>
                    <a:pt x="2" y="4"/>
                    <a:pt x="0" y="5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52" y="38"/>
                    <a:pt x="53" y="37"/>
                    <a:pt x="55" y="35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F3BE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ïṩļíḓè">
              <a:extLst>
                <a:ext uri="{FF2B5EF4-FFF2-40B4-BE49-F238E27FC236}">
                  <a16:creationId xmlns:a16="http://schemas.microsoft.com/office/drawing/2014/main" id="{D7FA96B3-C754-497C-9777-A83FEDEF8471}"/>
                </a:ext>
              </a:extLst>
            </p:cNvPr>
            <p:cNvSpPr/>
            <p:nvPr/>
          </p:nvSpPr>
          <p:spPr bwMode="auto">
            <a:xfrm>
              <a:off x="7767506" y="4114465"/>
              <a:ext cx="592333" cy="592333"/>
            </a:xfrm>
            <a:custGeom>
              <a:avLst/>
              <a:gdLst>
                <a:gd name="T0" fmla="*/ 10 w 35"/>
                <a:gd name="T1" fmla="*/ 18 h 35"/>
                <a:gd name="T2" fmla="*/ 4 w 35"/>
                <a:gd name="T3" fmla="*/ 11 h 35"/>
                <a:gd name="T4" fmla="*/ 10 w 35"/>
                <a:gd name="T5" fmla="*/ 5 h 35"/>
                <a:gd name="T6" fmla="*/ 17 w 35"/>
                <a:gd name="T7" fmla="*/ 11 h 35"/>
                <a:gd name="T8" fmla="*/ 10 w 35"/>
                <a:gd name="T9" fmla="*/ 18 h 35"/>
                <a:gd name="T10" fmla="*/ 17 w 35"/>
                <a:gd name="T11" fmla="*/ 0 h 35"/>
                <a:gd name="T12" fmla="*/ 17 w 35"/>
                <a:gd name="T13" fmla="*/ 0 h 35"/>
                <a:gd name="T14" fmla="*/ 17 w 35"/>
                <a:gd name="T15" fmla="*/ 0 h 35"/>
                <a:gd name="T16" fmla="*/ 17 w 35"/>
                <a:gd name="T17" fmla="*/ 0 h 35"/>
                <a:gd name="T18" fmla="*/ 6 w 35"/>
                <a:gd name="T19" fmla="*/ 4 h 35"/>
                <a:gd name="T20" fmla="*/ 6 w 35"/>
                <a:gd name="T21" fmla="*/ 4 h 35"/>
                <a:gd name="T22" fmla="*/ 2 w 35"/>
                <a:gd name="T23" fmla="*/ 9 h 35"/>
                <a:gd name="T24" fmla="*/ 2 w 35"/>
                <a:gd name="T25" fmla="*/ 9 h 35"/>
                <a:gd name="T26" fmla="*/ 2 w 35"/>
                <a:gd name="T27" fmla="*/ 9 h 35"/>
                <a:gd name="T28" fmla="*/ 0 w 35"/>
                <a:gd name="T29" fmla="*/ 18 h 35"/>
                <a:gd name="T30" fmla="*/ 0 w 35"/>
                <a:gd name="T31" fmla="*/ 18 h 35"/>
                <a:gd name="T32" fmla="*/ 0 w 35"/>
                <a:gd name="T33" fmla="*/ 18 h 35"/>
                <a:gd name="T34" fmla="*/ 0 w 35"/>
                <a:gd name="T35" fmla="*/ 18 h 35"/>
                <a:gd name="T36" fmla="*/ 17 w 35"/>
                <a:gd name="T37" fmla="*/ 35 h 35"/>
                <a:gd name="T38" fmla="*/ 35 w 35"/>
                <a:gd name="T39" fmla="*/ 18 h 35"/>
                <a:gd name="T40" fmla="*/ 17 w 35"/>
                <a:gd name="T4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35">
                  <a:moveTo>
                    <a:pt x="10" y="18"/>
                  </a:moveTo>
                  <a:cubicBezTo>
                    <a:pt x="7" y="18"/>
                    <a:pt x="4" y="15"/>
                    <a:pt x="4" y="11"/>
                  </a:cubicBezTo>
                  <a:cubicBezTo>
                    <a:pt x="4" y="8"/>
                    <a:pt x="7" y="5"/>
                    <a:pt x="10" y="5"/>
                  </a:cubicBezTo>
                  <a:cubicBezTo>
                    <a:pt x="14" y="5"/>
                    <a:pt x="17" y="8"/>
                    <a:pt x="17" y="11"/>
                  </a:cubicBezTo>
                  <a:cubicBezTo>
                    <a:pt x="17" y="15"/>
                    <a:pt x="14" y="18"/>
                    <a:pt x="10" y="18"/>
                  </a:cubicBezTo>
                  <a:moveTo>
                    <a:pt x="17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3" y="0"/>
                    <a:pt x="9" y="2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4" y="6"/>
                    <a:pt x="3" y="7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1" y="12"/>
                    <a:pt x="0" y="15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8"/>
                    <a:pt x="7" y="35"/>
                    <a:pt x="17" y="35"/>
                  </a:cubicBezTo>
                  <a:cubicBezTo>
                    <a:pt x="27" y="35"/>
                    <a:pt x="35" y="28"/>
                    <a:pt x="35" y="18"/>
                  </a:cubicBezTo>
                  <a:cubicBezTo>
                    <a:pt x="35" y="8"/>
                    <a:pt x="27" y="0"/>
                    <a:pt x="17" y="0"/>
                  </a:cubicBezTo>
                </a:path>
              </a:pathLst>
            </a:custGeom>
            <a:solidFill>
              <a:srgbClr val="EB7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ïśļïḓé">
              <a:extLst>
                <a:ext uri="{FF2B5EF4-FFF2-40B4-BE49-F238E27FC236}">
                  <a16:creationId xmlns:a16="http://schemas.microsoft.com/office/drawing/2014/main" id="{9E23C334-6016-4FB9-B673-608D06F2CCFD}"/>
                </a:ext>
              </a:extLst>
            </p:cNvPr>
            <p:cNvSpPr/>
            <p:nvPr/>
          </p:nvSpPr>
          <p:spPr bwMode="auto">
            <a:xfrm>
              <a:off x="6420564" y="3960300"/>
              <a:ext cx="113598" cy="592333"/>
            </a:xfrm>
            <a:custGeom>
              <a:avLst/>
              <a:gdLst>
                <a:gd name="T0" fmla="*/ 2 w 7"/>
                <a:gd name="T1" fmla="*/ 35 h 35"/>
                <a:gd name="T2" fmla="*/ 2 w 7"/>
                <a:gd name="T3" fmla="*/ 35 h 35"/>
                <a:gd name="T4" fmla="*/ 2 w 7"/>
                <a:gd name="T5" fmla="*/ 35 h 35"/>
                <a:gd name="T6" fmla="*/ 2 w 7"/>
                <a:gd name="T7" fmla="*/ 35 h 35"/>
                <a:gd name="T8" fmla="*/ 2 w 7"/>
                <a:gd name="T9" fmla="*/ 35 h 35"/>
                <a:gd name="T10" fmla="*/ 2 w 7"/>
                <a:gd name="T11" fmla="*/ 35 h 35"/>
                <a:gd name="T12" fmla="*/ 2 w 7"/>
                <a:gd name="T13" fmla="*/ 34 h 35"/>
                <a:gd name="T14" fmla="*/ 2 w 7"/>
                <a:gd name="T15" fmla="*/ 34 h 35"/>
                <a:gd name="T16" fmla="*/ 2 w 7"/>
                <a:gd name="T17" fmla="*/ 34 h 35"/>
                <a:gd name="T18" fmla="*/ 2 w 7"/>
                <a:gd name="T19" fmla="*/ 34 h 35"/>
                <a:gd name="T20" fmla="*/ 2 w 7"/>
                <a:gd name="T21" fmla="*/ 34 h 35"/>
                <a:gd name="T22" fmla="*/ 2 w 7"/>
                <a:gd name="T23" fmla="*/ 34 h 35"/>
                <a:gd name="T24" fmla="*/ 2 w 7"/>
                <a:gd name="T25" fmla="*/ 34 h 35"/>
                <a:gd name="T26" fmla="*/ 2 w 7"/>
                <a:gd name="T27" fmla="*/ 34 h 35"/>
                <a:gd name="T28" fmla="*/ 2 w 7"/>
                <a:gd name="T29" fmla="*/ 34 h 35"/>
                <a:gd name="T30" fmla="*/ 0 w 7"/>
                <a:gd name="T31" fmla="*/ 1 h 35"/>
                <a:gd name="T32" fmla="*/ 0 w 7"/>
                <a:gd name="T33" fmla="*/ 1 h 35"/>
                <a:gd name="T34" fmla="*/ 2 w 7"/>
                <a:gd name="T35" fmla="*/ 8 h 35"/>
                <a:gd name="T36" fmla="*/ 0 w 7"/>
                <a:gd name="T37" fmla="*/ 1 h 35"/>
                <a:gd name="T38" fmla="*/ 7 w 7"/>
                <a:gd name="T39" fmla="*/ 0 h 35"/>
                <a:gd name="T40" fmla="*/ 7 w 7"/>
                <a:gd name="T41" fmla="*/ 0 h 35"/>
                <a:gd name="T42" fmla="*/ 7 w 7"/>
                <a:gd name="T43" fmla="*/ 3 h 35"/>
                <a:gd name="T44" fmla="*/ 7 w 7"/>
                <a:gd name="T4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" h="35">
                  <a:moveTo>
                    <a:pt x="2" y="35"/>
                  </a:move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moveTo>
                    <a:pt x="2" y="35"/>
                  </a:move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moveTo>
                    <a:pt x="2" y="34"/>
                  </a:move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moveTo>
                    <a:pt x="2" y="34"/>
                  </a:move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moveTo>
                    <a:pt x="2" y="34"/>
                  </a:move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işḷïḑê">
              <a:extLst>
                <a:ext uri="{FF2B5EF4-FFF2-40B4-BE49-F238E27FC236}">
                  <a16:creationId xmlns:a16="http://schemas.microsoft.com/office/drawing/2014/main" id="{CD89B18E-8D6E-4CE1-AA6E-2215A41095EB}"/>
                </a:ext>
              </a:extLst>
            </p:cNvPr>
            <p:cNvSpPr/>
            <p:nvPr/>
          </p:nvSpPr>
          <p:spPr bwMode="auto">
            <a:xfrm>
              <a:off x="6420564" y="3960300"/>
              <a:ext cx="235312" cy="421934"/>
            </a:xfrm>
            <a:custGeom>
              <a:avLst/>
              <a:gdLst>
                <a:gd name="T0" fmla="*/ 7 w 14"/>
                <a:gd name="T1" fmla="*/ 0 h 25"/>
                <a:gd name="T2" fmla="*/ 0 w 14"/>
                <a:gd name="T3" fmla="*/ 1 h 25"/>
                <a:gd name="T4" fmla="*/ 2 w 14"/>
                <a:gd name="T5" fmla="*/ 8 h 25"/>
                <a:gd name="T6" fmla="*/ 8 w 14"/>
                <a:gd name="T7" fmla="*/ 25 h 25"/>
                <a:gd name="T8" fmla="*/ 14 w 14"/>
                <a:gd name="T9" fmla="*/ 23 h 25"/>
                <a:gd name="T10" fmla="*/ 7 w 14"/>
                <a:gd name="T11" fmla="*/ 3 h 25"/>
                <a:gd name="T12" fmla="*/ 7 w 14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5">
                  <a:moveTo>
                    <a:pt x="7" y="0"/>
                  </a:moveTo>
                  <a:cubicBezTo>
                    <a:pt x="5" y="1"/>
                    <a:pt x="2" y="1"/>
                    <a:pt x="0" y="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0" y="24"/>
                    <a:pt x="12" y="23"/>
                    <a:pt x="14" y="2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F3BE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išľíḑé">
              <a:extLst>
                <a:ext uri="{FF2B5EF4-FFF2-40B4-BE49-F238E27FC236}">
                  <a16:creationId xmlns:a16="http://schemas.microsoft.com/office/drawing/2014/main" id="{D7D44ADC-439B-4D5A-B27E-0D2E68F8CCB9}"/>
                </a:ext>
              </a:extLst>
            </p:cNvPr>
            <p:cNvSpPr/>
            <p:nvPr/>
          </p:nvSpPr>
          <p:spPr bwMode="auto">
            <a:xfrm>
              <a:off x="6453021" y="4349777"/>
              <a:ext cx="405705" cy="405705"/>
            </a:xfrm>
            <a:custGeom>
              <a:avLst/>
              <a:gdLst>
                <a:gd name="T0" fmla="*/ 7 w 24"/>
                <a:gd name="T1" fmla="*/ 10 h 24"/>
                <a:gd name="T2" fmla="*/ 4 w 24"/>
                <a:gd name="T3" fmla="*/ 6 h 24"/>
                <a:gd name="T4" fmla="*/ 7 w 24"/>
                <a:gd name="T5" fmla="*/ 3 h 24"/>
                <a:gd name="T6" fmla="*/ 11 w 24"/>
                <a:gd name="T7" fmla="*/ 6 h 24"/>
                <a:gd name="T8" fmla="*/ 7 w 24"/>
                <a:gd name="T9" fmla="*/ 10 h 24"/>
                <a:gd name="T10" fmla="*/ 12 w 24"/>
                <a:gd name="T11" fmla="*/ 0 h 24"/>
                <a:gd name="T12" fmla="*/ 12 w 24"/>
                <a:gd name="T13" fmla="*/ 0 h 24"/>
                <a:gd name="T14" fmla="*/ 12 w 24"/>
                <a:gd name="T15" fmla="*/ 0 h 24"/>
                <a:gd name="T16" fmla="*/ 12 w 24"/>
                <a:gd name="T17" fmla="*/ 0 h 24"/>
                <a:gd name="T18" fmla="*/ 6 w 24"/>
                <a:gd name="T19" fmla="*/ 2 h 24"/>
                <a:gd name="T20" fmla="*/ 6 w 24"/>
                <a:gd name="T21" fmla="*/ 2 h 24"/>
                <a:gd name="T22" fmla="*/ 0 w 24"/>
                <a:gd name="T23" fmla="*/ 11 h 24"/>
                <a:gd name="T24" fmla="*/ 0 w 24"/>
                <a:gd name="T25" fmla="*/ 11 h 24"/>
                <a:gd name="T26" fmla="*/ 0 w 24"/>
                <a:gd name="T27" fmla="*/ 11 h 24"/>
                <a:gd name="T28" fmla="*/ 0 w 24"/>
                <a:gd name="T29" fmla="*/ 11 h 24"/>
                <a:gd name="T30" fmla="*/ 0 w 24"/>
                <a:gd name="T31" fmla="*/ 11 h 24"/>
                <a:gd name="T32" fmla="*/ 0 w 24"/>
                <a:gd name="T33" fmla="*/ 11 h 24"/>
                <a:gd name="T34" fmla="*/ 0 w 24"/>
                <a:gd name="T35" fmla="*/ 12 h 24"/>
                <a:gd name="T36" fmla="*/ 0 w 24"/>
                <a:gd name="T37" fmla="*/ 12 h 24"/>
                <a:gd name="T38" fmla="*/ 0 w 24"/>
                <a:gd name="T39" fmla="*/ 12 h 24"/>
                <a:gd name="T40" fmla="*/ 0 w 24"/>
                <a:gd name="T41" fmla="*/ 12 h 24"/>
                <a:gd name="T42" fmla="*/ 0 w 24"/>
                <a:gd name="T43" fmla="*/ 12 h 24"/>
                <a:gd name="T44" fmla="*/ 0 w 24"/>
                <a:gd name="T45" fmla="*/ 12 h 24"/>
                <a:gd name="T46" fmla="*/ 12 w 24"/>
                <a:gd name="T47" fmla="*/ 24 h 24"/>
                <a:gd name="T48" fmla="*/ 24 w 24"/>
                <a:gd name="T49" fmla="*/ 12 h 24"/>
                <a:gd name="T50" fmla="*/ 12 w 24"/>
                <a:gd name="T5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" h="24">
                  <a:moveTo>
                    <a:pt x="7" y="10"/>
                  </a:moveTo>
                  <a:cubicBezTo>
                    <a:pt x="5" y="10"/>
                    <a:pt x="4" y="8"/>
                    <a:pt x="4" y="6"/>
                  </a:cubicBezTo>
                  <a:cubicBezTo>
                    <a:pt x="4" y="4"/>
                    <a:pt x="5" y="3"/>
                    <a:pt x="7" y="3"/>
                  </a:cubicBezTo>
                  <a:cubicBezTo>
                    <a:pt x="9" y="3"/>
                    <a:pt x="11" y="4"/>
                    <a:pt x="11" y="6"/>
                  </a:cubicBezTo>
                  <a:cubicBezTo>
                    <a:pt x="11" y="8"/>
                    <a:pt x="9" y="10"/>
                    <a:pt x="7" y="1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0"/>
                    <a:pt x="8" y="1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3" y="4"/>
                    <a:pt x="1" y="7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8"/>
                    <a:pt x="6" y="24"/>
                    <a:pt x="12" y="24"/>
                  </a:cubicBezTo>
                  <a:cubicBezTo>
                    <a:pt x="19" y="24"/>
                    <a:pt x="24" y="18"/>
                    <a:pt x="24" y="12"/>
                  </a:cubicBezTo>
                  <a:cubicBezTo>
                    <a:pt x="24" y="5"/>
                    <a:pt x="19" y="0"/>
                    <a:pt x="12" y="0"/>
                  </a:cubicBezTo>
                </a:path>
              </a:pathLst>
            </a:custGeom>
            <a:solidFill>
              <a:srgbClr val="21AB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îSḷíḍè">
              <a:extLst>
                <a:ext uri="{FF2B5EF4-FFF2-40B4-BE49-F238E27FC236}">
                  <a16:creationId xmlns:a16="http://schemas.microsoft.com/office/drawing/2014/main" id="{80D84DCF-B62E-4196-BAE2-99C619F70203}"/>
                </a:ext>
              </a:extLst>
            </p:cNvPr>
            <p:cNvSpPr/>
            <p:nvPr/>
          </p:nvSpPr>
          <p:spPr bwMode="auto">
            <a:xfrm>
              <a:off x="7832419" y="4195606"/>
              <a:ext cx="219084" cy="219084"/>
            </a:xfrm>
            <a:prstGeom prst="ellipse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îṥḻîdê">
              <a:extLst>
                <a:ext uri="{FF2B5EF4-FFF2-40B4-BE49-F238E27FC236}">
                  <a16:creationId xmlns:a16="http://schemas.microsoft.com/office/drawing/2014/main" id="{899EB937-23BD-46AC-A38D-957936D83A60}"/>
                </a:ext>
              </a:extLst>
            </p:cNvPr>
            <p:cNvSpPr/>
            <p:nvPr/>
          </p:nvSpPr>
          <p:spPr bwMode="auto">
            <a:xfrm>
              <a:off x="6517934" y="4398462"/>
              <a:ext cx="121714" cy="121714"/>
            </a:xfrm>
            <a:prstGeom prst="ellipse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ïṥḷiďê">
              <a:extLst>
                <a:ext uri="{FF2B5EF4-FFF2-40B4-BE49-F238E27FC236}">
                  <a16:creationId xmlns:a16="http://schemas.microsoft.com/office/drawing/2014/main" id="{144D4062-2B1F-484B-978A-A8C1D9FCD341}"/>
                </a:ext>
              </a:extLst>
            </p:cNvPr>
            <p:cNvSpPr/>
            <p:nvPr/>
          </p:nvSpPr>
          <p:spPr bwMode="auto">
            <a:xfrm>
              <a:off x="6331307" y="2499760"/>
              <a:ext cx="762726" cy="1492996"/>
            </a:xfrm>
            <a:custGeom>
              <a:avLst/>
              <a:gdLst>
                <a:gd name="T0" fmla="*/ 0 w 45"/>
                <a:gd name="T1" fmla="*/ 0 h 89"/>
                <a:gd name="T2" fmla="*/ 0 w 45"/>
                <a:gd name="T3" fmla="*/ 0 h 89"/>
                <a:gd name="T4" fmla="*/ 0 w 45"/>
                <a:gd name="T5" fmla="*/ 0 h 89"/>
                <a:gd name="T6" fmla="*/ 0 w 45"/>
                <a:gd name="T7" fmla="*/ 89 h 89"/>
                <a:gd name="T8" fmla="*/ 0 w 45"/>
                <a:gd name="T9" fmla="*/ 89 h 89"/>
                <a:gd name="T10" fmla="*/ 5 w 45"/>
                <a:gd name="T11" fmla="*/ 88 h 89"/>
                <a:gd name="T12" fmla="*/ 5 w 45"/>
                <a:gd name="T13" fmla="*/ 88 h 89"/>
                <a:gd name="T14" fmla="*/ 5 w 45"/>
                <a:gd name="T15" fmla="*/ 88 h 89"/>
                <a:gd name="T16" fmla="*/ 12 w 45"/>
                <a:gd name="T17" fmla="*/ 87 h 89"/>
                <a:gd name="T18" fmla="*/ 12 w 45"/>
                <a:gd name="T19" fmla="*/ 87 h 89"/>
                <a:gd name="T20" fmla="*/ 12 w 45"/>
                <a:gd name="T21" fmla="*/ 87 h 89"/>
                <a:gd name="T22" fmla="*/ 36 w 45"/>
                <a:gd name="T23" fmla="*/ 70 h 89"/>
                <a:gd name="T24" fmla="*/ 36 w 45"/>
                <a:gd name="T25" fmla="*/ 70 h 89"/>
                <a:gd name="T26" fmla="*/ 40 w 45"/>
                <a:gd name="T27" fmla="*/ 65 h 89"/>
                <a:gd name="T28" fmla="*/ 40 w 45"/>
                <a:gd name="T29" fmla="*/ 65 h 89"/>
                <a:gd name="T30" fmla="*/ 45 w 45"/>
                <a:gd name="T31" fmla="*/ 45 h 89"/>
                <a:gd name="T32" fmla="*/ 45 w 45"/>
                <a:gd name="T33" fmla="*/ 45 h 89"/>
                <a:gd name="T34" fmla="*/ 45 w 45"/>
                <a:gd name="T35" fmla="*/ 45 h 89"/>
                <a:gd name="T36" fmla="*/ 45 w 45"/>
                <a:gd name="T37" fmla="*/ 45 h 89"/>
                <a:gd name="T38" fmla="*/ 45 w 45"/>
                <a:gd name="T39" fmla="*/ 45 h 89"/>
                <a:gd name="T40" fmla="*/ 45 w 45"/>
                <a:gd name="T41" fmla="*/ 45 h 89"/>
                <a:gd name="T42" fmla="*/ 45 w 45"/>
                <a:gd name="T43" fmla="*/ 44 h 89"/>
                <a:gd name="T44" fmla="*/ 45 w 45"/>
                <a:gd name="T45" fmla="*/ 44 h 89"/>
                <a:gd name="T46" fmla="*/ 45 w 45"/>
                <a:gd name="T47" fmla="*/ 44 h 89"/>
                <a:gd name="T48" fmla="*/ 45 w 45"/>
                <a:gd name="T49" fmla="*/ 44 h 89"/>
                <a:gd name="T50" fmla="*/ 45 w 45"/>
                <a:gd name="T51" fmla="*/ 44 h 89"/>
                <a:gd name="T52" fmla="*/ 45 w 45"/>
                <a:gd name="T53" fmla="*/ 44 h 89"/>
                <a:gd name="T54" fmla="*/ 35 w 45"/>
                <a:gd name="T55" fmla="*/ 18 h 89"/>
                <a:gd name="T56" fmla="*/ 35 w 45"/>
                <a:gd name="T57" fmla="*/ 17 h 89"/>
                <a:gd name="T58" fmla="*/ 31 w 45"/>
                <a:gd name="T59" fmla="*/ 13 h 89"/>
                <a:gd name="T60" fmla="*/ 31 w 45"/>
                <a:gd name="T61" fmla="*/ 13 h 89"/>
                <a:gd name="T62" fmla="*/ 31 w 45"/>
                <a:gd name="T63" fmla="*/ 13 h 89"/>
                <a:gd name="T64" fmla="*/ 1 w 45"/>
                <a:gd name="T65" fmla="*/ 0 h 89"/>
                <a:gd name="T66" fmla="*/ 1 w 45"/>
                <a:gd name="T67" fmla="*/ 0 h 89"/>
                <a:gd name="T68" fmla="*/ 1 w 45"/>
                <a:gd name="T69" fmla="*/ 0 h 89"/>
                <a:gd name="T70" fmla="*/ 1 w 45"/>
                <a:gd name="T71" fmla="*/ 0 h 89"/>
                <a:gd name="T72" fmla="*/ 1 w 45"/>
                <a:gd name="T73" fmla="*/ 0 h 89"/>
                <a:gd name="T74" fmla="*/ 0 w 45"/>
                <a:gd name="T75" fmla="*/ 0 h 89"/>
                <a:gd name="T76" fmla="*/ 0 w 45"/>
                <a:gd name="T77" fmla="*/ 0 h 89"/>
                <a:gd name="T78" fmla="*/ 0 w 45"/>
                <a:gd name="T7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5" h="8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2" y="89"/>
                    <a:pt x="4" y="89"/>
                    <a:pt x="5" y="88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7" y="88"/>
                    <a:pt x="10" y="88"/>
                    <a:pt x="12" y="87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22" y="85"/>
                    <a:pt x="30" y="78"/>
                    <a:pt x="36" y="70"/>
                  </a:cubicBezTo>
                  <a:cubicBezTo>
                    <a:pt x="36" y="70"/>
                    <a:pt x="36" y="70"/>
                    <a:pt x="36" y="70"/>
                  </a:cubicBezTo>
                  <a:cubicBezTo>
                    <a:pt x="38" y="69"/>
                    <a:pt x="39" y="67"/>
                    <a:pt x="40" y="65"/>
                  </a:cubicBezTo>
                  <a:cubicBezTo>
                    <a:pt x="40" y="65"/>
                    <a:pt x="40" y="65"/>
                    <a:pt x="40" y="65"/>
                  </a:cubicBezTo>
                  <a:cubicBezTo>
                    <a:pt x="43" y="59"/>
                    <a:pt x="45" y="52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34"/>
                    <a:pt x="41" y="25"/>
                    <a:pt x="35" y="18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4" y="16"/>
                    <a:pt x="33" y="14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23" y="5"/>
                    <a:pt x="13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5" name="文本框 4">
            <a:extLst>
              <a:ext uri="{FF2B5EF4-FFF2-40B4-BE49-F238E27FC236}">
                <a16:creationId xmlns:a16="http://schemas.microsoft.com/office/drawing/2014/main" id="{F88CA5D9-369E-458A-9547-41D2FD83F68A}"/>
              </a:ext>
            </a:extLst>
          </p:cNvPr>
          <p:cNvSpPr txBox="1"/>
          <p:nvPr/>
        </p:nvSpPr>
        <p:spPr>
          <a:xfrm>
            <a:off x="906543" y="4482705"/>
            <a:ext cx="9615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Vector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659219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" name="图片 120">
            <a:extLst>
              <a:ext uri="{FF2B5EF4-FFF2-40B4-BE49-F238E27FC236}">
                <a16:creationId xmlns:a16="http://schemas.microsoft.com/office/drawing/2014/main" id="{61A2441D-19B1-4496-B2D4-7BE8A742CA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2724" y="1855430"/>
            <a:ext cx="8518159" cy="4247389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1AA8BD59-DCC7-404B-B837-10DBFC0816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切片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C6259E4-1B9B-4BB7-8508-5CB415974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月泉的博客  </a:t>
            </a:r>
            <a:r>
              <a:rPr lang="en-US" altLang="zh-CN" dirty="0">
                <a:cs typeface="+mn-ea"/>
                <a:sym typeface="+mn-lt"/>
              </a:rPr>
              <a:t>www.lunaspring.com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878CE4E-CF5B-4899-8E31-6C37FAA5D6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6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8FC1A3DA-8A09-4183-91DD-8DA0B6E65994}"/>
              </a:ext>
            </a:extLst>
          </p:cNvPr>
          <p:cNvSpPr/>
          <p:nvPr/>
        </p:nvSpPr>
        <p:spPr>
          <a:xfrm>
            <a:off x="486843" y="1189291"/>
            <a:ext cx="2691763" cy="14773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 let vec = vec![1,2,3,4];   </a:t>
            </a:r>
            <a:endParaRPr lang="en-US" altLang="zh-CN" dirty="0"/>
          </a:p>
          <a:p>
            <a:r>
              <a:rPr lang="zh-CN" altLang="en-US" dirty="0"/>
              <a:t> let arr = [1,2,3,4];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let </a:t>
            </a:r>
            <a:r>
              <a:rPr lang="en-US" altLang="zh-CN" dirty="0" err="1"/>
              <a:t>rvec</a:t>
            </a:r>
            <a:r>
              <a:rPr lang="en-US" altLang="zh-CN" dirty="0"/>
              <a:t> = &amp;</a:t>
            </a:r>
            <a:r>
              <a:rPr lang="en-US" altLang="zh-CN" dirty="0" err="1"/>
              <a:t>vec</a:t>
            </a:r>
            <a:r>
              <a:rPr lang="en-US" altLang="zh-CN" dirty="0"/>
              <a:t>;</a:t>
            </a:r>
          </a:p>
          <a:p>
            <a:r>
              <a:rPr lang="en-US" altLang="zh-CN" dirty="0"/>
              <a:t>Let </a:t>
            </a:r>
            <a:r>
              <a:rPr lang="en-US" altLang="zh-CN" dirty="0" err="1"/>
              <a:t>rarr</a:t>
            </a:r>
            <a:r>
              <a:rPr lang="en-US" altLang="zh-CN" dirty="0"/>
              <a:t> = &amp;</a:t>
            </a:r>
            <a:r>
              <a:rPr lang="en-US" altLang="zh-CN" dirty="0" err="1"/>
              <a:t>arr</a:t>
            </a:r>
            <a:r>
              <a:rPr lang="en-US" altLang="zh-CN"/>
              <a:t>;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413216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AA8BD59-DCC7-404B-B837-10DBFC0816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枚举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C6259E4-1B9B-4BB7-8508-5CB415974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月泉的博客  </a:t>
            </a:r>
            <a:r>
              <a:rPr lang="en-US" altLang="zh-CN" dirty="0">
                <a:cs typeface="+mn-ea"/>
                <a:sym typeface="+mn-lt"/>
              </a:rPr>
              <a:t>www.lunaspring.com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878CE4E-CF5B-4899-8E31-6C37FAA5D6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7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120" name="文本框 119">
            <a:extLst>
              <a:ext uri="{FF2B5EF4-FFF2-40B4-BE49-F238E27FC236}">
                <a16:creationId xmlns:a16="http://schemas.microsoft.com/office/drawing/2014/main" id="{0B64695C-5DC1-4282-B625-A5BF1DA9878B}"/>
              </a:ext>
            </a:extLst>
          </p:cNvPr>
          <p:cNvSpPr txBox="1"/>
          <p:nvPr/>
        </p:nvSpPr>
        <p:spPr>
          <a:xfrm>
            <a:off x="906544" y="1473250"/>
            <a:ext cx="31748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世界上总存在一些规则的穷举</a:t>
            </a:r>
          </a:p>
        </p:txBody>
      </p:sp>
      <p:grpSp>
        <p:nvGrpSpPr>
          <p:cNvPr id="6" name="97f03a18-3787-4956-a197-1a85cd22bdb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E4539DE-7506-4185-BE4A-21FA7C6B532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4381618" y="2630782"/>
            <a:ext cx="3427174" cy="3214871"/>
            <a:chOff x="3529807" y="1021775"/>
            <a:chExt cx="5132387" cy="4814451"/>
          </a:xfrm>
        </p:grpSpPr>
        <p:sp>
          <p:nvSpPr>
            <p:cNvPr id="7" name="îšľiḍè">
              <a:extLst>
                <a:ext uri="{FF2B5EF4-FFF2-40B4-BE49-F238E27FC236}">
                  <a16:creationId xmlns:a16="http://schemas.microsoft.com/office/drawing/2014/main" id="{65AD15EC-C2CE-499F-AF08-28761A95DF85}"/>
                </a:ext>
              </a:extLst>
            </p:cNvPr>
            <p:cNvSpPr/>
            <p:nvPr/>
          </p:nvSpPr>
          <p:spPr bwMode="auto">
            <a:xfrm>
              <a:off x="3529807" y="1021775"/>
              <a:ext cx="5132387" cy="4814451"/>
            </a:xfrm>
            <a:custGeom>
              <a:avLst/>
              <a:gdLst>
                <a:gd name="T0" fmla="*/ 1180 w 2121"/>
                <a:gd name="T1" fmla="*/ 1955 h 1993"/>
                <a:gd name="T2" fmla="*/ 1868 w 2121"/>
                <a:gd name="T3" fmla="*/ 1841 h 1993"/>
                <a:gd name="T4" fmla="*/ 2015 w 2121"/>
                <a:gd name="T5" fmla="*/ 1733 h 1993"/>
                <a:gd name="T6" fmla="*/ 2114 w 2121"/>
                <a:gd name="T7" fmla="*/ 1421 h 1993"/>
                <a:gd name="T8" fmla="*/ 2059 w 2121"/>
                <a:gd name="T9" fmla="*/ 1227 h 1993"/>
                <a:gd name="T10" fmla="*/ 1972 w 2121"/>
                <a:gd name="T11" fmla="*/ 1078 h 1993"/>
                <a:gd name="T12" fmla="*/ 1935 w 2121"/>
                <a:gd name="T13" fmla="*/ 462 h 1993"/>
                <a:gd name="T14" fmla="*/ 1684 w 2121"/>
                <a:gd name="T15" fmla="*/ 236 h 1993"/>
                <a:gd name="T16" fmla="*/ 1342 w 2121"/>
                <a:gd name="T17" fmla="*/ 183 h 1993"/>
                <a:gd name="T18" fmla="*/ 1052 w 2121"/>
                <a:gd name="T19" fmla="*/ 135 h 1993"/>
                <a:gd name="T20" fmla="*/ 934 w 2121"/>
                <a:gd name="T21" fmla="*/ 69 h 1993"/>
                <a:gd name="T22" fmla="*/ 456 w 2121"/>
                <a:gd name="T23" fmla="*/ 163 h 1993"/>
                <a:gd name="T24" fmla="*/ 361 w 2121"/>
                <a:gd name="T25" fmla="*/ 226 h 1993"/>
                <a:gd name="T26" fmla="*/ 291 w 2121"/>
                <a:gd name="T27" fmla="*/ 324 h 1993"/>
                <a:gd name="T28" fmla="*/ 11 w 2121"/>
                <a:gd name="T29" fmla="*/ 759 h 1993"/>
                <a:gd name="T30" fmla="*/ 147 w 2121"/>
                <a:gd name="T31" fmla="*/ 1201 h 1993"/>
                <a:gd name="T32" fmla="*/ 48 w 2121"/>
                <a:gd name="T33" fmla="*/ 1701 h 1993"/>
                <a:gd name="T34" fmla="*/ 119 w 2121"/>
                <a:gd name="T35" fmla="*/ 1959 h 1993"/>
                <a:gd name="T36" fmla="*/ 400 w 2121"/>
                <a:gd name="T37" fmla="*/ 1964 h 1993"/>
                <a:gd name="T38" fmla="*/ 1180 w 2121"/>
                <a:gd name="T39" fmla="*/ 1955 h 1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21" h="1993">
                  <a:moveTo>
                    <a:pt x="1180" y="1955"/>
                  </a:moveTo>
                  <a:cubicBezTo>
                    <a:pt x="1415" y="1952"/>
                    <a:pt x="1659" y="1947"/>
                    <a:pt x="1868" y="1841"/>
                  </a:cubicBezTo>
                  <a:cubicBezTo>
                    <a:pt x="1922" y="1813"/>
                    <a:pt x="1974" y="1779"/>
                    <a:pt x="2015" y="1733"/>
                  </a:cubicBezTo>
                  <a:cubicBezTo>
                    <a:pt x="2089" y="1649"/>
                    <a:pt x="2121" y="1533"/>
                    <a:pt x="2114" y="1421"/>
                  </a:cubicBezTo>
                  <a:cubicBezTo>
                    <a:pt x="2110" y="1353"/>
                    <a:pt x="2091" y="1287"/>
                    <a:pt x="2059" y="1227"/>
                  </a:cubicBezTo>
                  <a:cubicBezTo>
                    <a:pt x="2032" y="1177"/>
                    <a:pt x="1995" y="1131"/>
                    <a:pt x="1972" y="1078"/>
                  </a:cubicBezTo>
                  <a:cubicBezTo>
                    <a:pt x="1889" y="887"/>
                    <a:pt x="2011" y="655"/>
                    <a:pt x="1935" y="462"/>
                  </a:cubicBezTo>
                  <a:cubicBezTo>
                    <a:pt x="1892" y="354"/>
                    <a:pt x="1793" y="276"/>
                    <a:pt x="1684" y="236"/>
                  </a:cubicBezTo>
                  <a:cubicBezTo>
                    <a:pt x="1575" y="195"/>
                    <a:pt x="1458" y="187"/>
                    <a:pt x="1342" y="183"/>
                  </a:cubicBezTo>
                  <a:cubicBezTo>
                    <a:pt x="1243" y="180"/>
                    <a:pt x="1140" y="179"/>
                    <a:pt x="1052" y="135"/>
                  </a:cubicBezTo>
                  <a:cubicBezTo>
                    <a:pt x="1011" y="115"/>
                    <a:pt x="975" y="87"/>
                    <a:pt x="934" y="69"/>
                  </a:cubicBezTo>
                  <a:cubicBezTo>
                    <a:pt x="780" y="0"/>
                    <a:pt x="604" y="82"/>
                    <a:pt x="456" y="163"/>
                  </a:cubicBezTo>
                  <a:cubicBezTo>
                    <a:pt x="422" y="181"/>
                    <a:pt x="388" y="200"/>
                    <a:pt x="361" y="226"/>
                  </a:cubicBezTo>
                  <a:cubicBezTo>
                    <a:pt x="333" y="255"/>
                    <a:pt x="313" y="291"/>
                    <a:pt x="291" y="324"/>
                  </a:cubicBezTo>
                  <a:cubicBezTo>
                    <a:pt x="193" y="469"/>
                    <a:pt x="23" y="584"/>
                    <a:pt x="11" y="759"/>
                  </a:cubicBezTo>
                  <a:cubicBezTo>
                    <a:pt x="0" y="914"/>
                    <a:pt x="121" y="1048"/>
                    <a:pt x="147" y="1201"/>
                  </a:cubicBezTo>
                  <a:cubicBezTo>
                    <a:pt x="176" y="1370"/>
                    <a:pt x="87" y="1534"/>
                    <a:pt x="48" y="1701"/>
                  </a:cubicBezTo>
                  <a:cubicBezTo>
                    <a:pt x="28" y="1786"/>
                    <a:pt x="24" y="1914"/>
                    <a:pt x="119" y="1959"/>
                  </a:cubicBezTo>
                  <a:cubicBezTo>
                    <a:pt x="192" y="1993"/>
                    <a:pt x="322" y="1965"/>
                    <a:pt x="400" y="1964"/>
                  </a:cubicBezTo>
                  <a:lnTo>
                    <a:pt x="1180" y="1955"/>
                  </a:lnTo>
                  <a:close/>
                </a:path>
              </a:pathLst>
            </a:custGeom>
            <a:solidFill>
              <a:srgbClr val="68AFFD">
                <a:alpha val="3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íṥļîḍé">
              <a:extLst>
                <a:ext uri="{FF2B5EF4-FFF2-40B4-BE49-F238E27FC236}">
                  <a16:creationId xmlns:a16="http://schemas.microsoft.com/office/drawing/2014/main" id="{DB6AD6CD-114C-4611-83EA-9119238B5CF3}"/>
                </a:ext>
              </a:extLst>
            </p:cNvPr>
            <p:cNvSpPr/>
            <p:nvPr/>
          </p:nvSpPr>
          <p:spPr bwMode="auto">
            <a:xfrm>
              <a:off x="4407914" y="2031482"/>
              <a:ext cx="3270193" cy="3276016"/>
            </a:xfrm>
            <a:custGeom>
              <a:avLst/>
              <a:gdLst>
                <a:gd name="T0" fmla="*/ 1328 w 1351"/>
                <a:gd name="T1" fmla="*/ 353 h 1356"/>
                <a:gd name="T2" fmla="*/ 1300 w 1351"/>
                <a:gd name="T3" fmla="*/ 209 h 1356"/>
                <a:gd name="T4" fmla="*/ 1106 w 1351"/>
                <a:gd name="T5" fmla="*/ 48 h 1356"/>
                <a:gd name="T6" fmla="*/ 938 w 1351"/>
                <a:gd name="T7" fmla="*/ 11 h 1356"/>
                <a:gd name="T8" fmla="*/ 793 w 1351"/>
                <a:gd name="T9" fmla="*/ 114 h 1356"/>
                <a:gd name="T10" fmla="*/ 793 w 1351"/>
                <a:gd name="T11" fmla="*/ 116 h 1356"/>
                <a:gd name="T12" fmla="*/ 770 w 1351"/>
                <a:gd name="T13" fmla="*/ 355 h 1356"/>
                <a:gd name="T14" fmla="*/ 559 w 1351"/>
                <a:gd name="T15" fmla="*/ 432 h 1356"/>
                <a:gd name="T16" fmla="*/ 457 w 1351"/>
                <a:gd name="T17" fmla="*/ 381 h 1356"/>
                <a:gd name="T18" fmla="*/ 409 w 1351"/>
                <a:gd name="T19" fmla="*/ 288 h 1356"/>
                <a:gd name="T20" fmla="*/ 335 w 1351"/>
                <a:gd name="T21" fmla="*/ 226 h 1356"/>
                <a:gd name="T22" fmla="*/ 258 w 1351"/>
                <a:gd name="T23" fmla="*/ 189 h 1356"/>
                <a:gd name="T24" fmla="*/ 175 w 1351"/>
                <a:gd name="T25" fmla="*/ 202 h 1356"/>
                <a:gd name="T26" fmla="*/ 131 w 1351"/>
                <a:gd name="T27" fmla="*/ 363 h 1356"/>
                <a:gd name="T28" fmla="*/ 6 w 1351"/>
                <a:gd name="T29" fmla="*/ 622 h 1356"/>
                <a:gd name="T30" fmla="*/ 81 w 1351"/>
                <a:gd name="T31" fmla="*/ 761 h 1356"/>
                <a:gd name="T32" fmla="*/ 190 w 1351"/>
                <a:gd name="T33" fmla="*/ 981 h 1356"/>
                <a:gd name="T34" fmla="*/ 193 w 1351"/>
                <a:gd name="T35" fmla="*/ 1088 h 1356"/>
                <a:gd name="T36" fmla="*/ 269 w 1351"/>
                <a:gd name="T37" fmla="*/ 1166 h 1356"/>
                <a:gd name="T38" fmla="*/ 285 w 1351"/>
                <a:gd name="T39" fmla="*/ 1169 h 1356"/>
                <a:gd name="T40" fmla="*/ 300 w 1351"/>
                <a:gd name="T41" fmla="*/ 1212 h 1356"/>
                <a:gd name="T42" fmla="*/ 335 w 1351"/>
                <a:gd name="T43" fmla="*/ 1273 h 1356"/>
                <a:gd name="T44" fmla="*/ 403 w 1351"/>
                <a:gd name="T45" fmla="*/ 1301 h 1356"/>
                <a:gd name="T46" fmla="*/ 780 w 1351"/>
                <a:gd name="T47" fmla="*/ 1341 h 1356"/>
                <a:gd name="T48" fmla="*/ 1106 w 1351"/>
                <a:gd name="T49" fmla="*/ 1164 h 1356"/>
                <a:gd name="T50" fmla="*/ 1203 w 1351"/>
                <a:gd name="T51" fmla="*/ 931 h 1356"/>
                <a:gd name="T52" fmla="*/ 1245 w 1351"/>
                <a:gd name="T53" fmla="*/ 784 h 1356"/>
                <a:gd name="T54" fmla="*/ 1280 w 1351"/>
                <a:gd name="T55" fmla="*/ 679 h 1356"/>
                <a:gd name="T56" fmla="*/ 1339 w 1351"/>
                <a:gd name="T57" fmla="*/ 583 h 1356"/>
                <a:gd name="T58" fmla="*/ 1340 w 1351"/>
                <a:gd name="T59" fmla="*/ 499 h 1356"/>
                <a:gd name="T60" fmla="*/ 1328 w 1351"/>
                <a:gd name="T61" fmla="*/ 353 h 1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51" h="1356">
                  <a:moveTo>
                    <a:pt x="1328" y="353"/>
                  </a:moveTo>
                  <a:cubicBezTo>
                    <a:pt x="1324" y="304"/>
                    <a:pt x="1320" y="254"/>
                    <a:pt x="1300" y="209"/>
                  </a:cubicBezTo>
                  <a:cubicBezTo>
                    <a:pt x="1266" y="130"/>
                    <a:pt x="1187" y="77"/>
                    <a:pt x="1106" y="48"/>
                  </a:cubicBezTo>
                  <a:cubicBezTo>
                    <a:pt x="1051" y="29"/>
                    <a:pt x="995" y="20"/>
                    <a:pt x="938" y="11"/>
                  </a:cubicBezTo>
                  <a:cubicBezTo>
                    <a:pt x="870" y="0"/>
                    <a:pt x="804" y="46"/>
                    <a:pt x="793" y="114"/>
                  </a:cubicBezTo>
                  <a:cubicBezTo>
                    <a:pt x="793" y="115"/>
                    <a:pt x="793" y="115"/>
                    <a:pt x="793" y="116"/>
                  </a:cubicBezTo>
                  <a:cubicBezTo>
                    <a:pt x="780" y="196"/>
                    <a:pt x="810" y="285"/>
                    <a:pt x="770" y="355"/>
                  </a:cubicBezTo>
                  <a:cubicBezTo>
                    <a:pt x="731" y="425"/>
                    <a:pt x="638" y="446"/>
                    <a:pt x="559" y="432"/>
                  </a:cubicBezTo>
                  <a:cubicBezTo>
                    <a:pt x="521" y="426"/>
                    <a:pt x="481" y="411"/>
                    <a:pt x="457" y="381"/>
                  </a:cubicBezTo>
                  <a:cubicBezTo>
                    <a:pt x="435" y="354"/>
                    <a:pt x="429" y="317"/>
                    <a:pt x="409" y="288"/>
                  </a:cubicBezTo>
                  <a:cubicBezTo>
                    <a:pt x="391" y="261"/>
                    <a:pt x="363" y="244"/>
                    <a:pt x="335" y="226"/>
                  </a:cubicBezTo>
                  <a:cubicBezTo>
                    <a:pt x="311" y="211"/>
                    <a:pt x="286" y="196"/>
                    <a:pt x="258" y="189"/>
                  </a:cubicBezTo>
                  <a:cubicBezTo>
                    <a:pt x="230" y="182"/>
                    <a:pt x="198" y="184"/>
                    <a:pt x="175" y="202"/>
                  </a:cubicBezTo>
                  <a:cubicBezTo>
                    <a:pt x="131" y="238"/>
                    <a:pt x="144" y="307"/>
                    <a:pt x="131" y="363"/>
                  </a:cubicBezTo>
                  <a:cubicBezTo>
                    <a:pt x="109" y="458"/>
                    <a:pt x="0" y="524"/>
                    <a:pt x="6" y="622"/>
                  </a:cubicBezTo>
                  <a:cubicBezTo>
                    <a:pt x="9" y="675"/>
                    <a:pt x="46" y="720"/>
                    <a:pt x="81" y="761"/>
                  </a:cubicBezTo>
                  <a:cubicBezTo>
                    <a:pt x="133" y="825"/>
                    <a:pt x="183" y="898"/>
                    <a:pt x="190" y="981"/>
                  </a:cubicBezTo>
                  <a:cubicBezTo>
                    <a:pt x="192" y="1016"/>
                    <a:pt x="187" y="1052"/>
                    <a:pt x="193" y="1088"/>
                  </a:cubicBezTo>
                  <a:cubicBezTo>
                    <a:pt x="200" y="1126"/>
                    <a:pt x="227" y="1166"/>
                    <a:pt x="269" y="1166"/>
                  </a:cubicBezTo>
                  <a:cubicBezTo>
                    <a:pt x="275" y="1166"/>
                    <a:pt x="280" y="1167"/>
                    <a:pt x="285" y="1169"/>
                  </a:cubicBezTo>
                  <a:cubicBezTo>
                    <a:pt x="307" y="1178"/>
                    <a:pt x="301" y="1196"/>
                    <a:pt x="300" y="1212"/>
                  </a:cubicBezTo>
                  <a:cubicBezTo>
                    <a:pt x="299" y="1236"/>
                    <a:pt x="315" y="1259"/>
                    <a:pt x="335" y="1273"/>
                  </a:cubicBezTo>
                  <a:cubicBezTo>
                    <a:pt x="355" y="1287"/>
                    <a:pt x="380" y="1294"/>
                    <a:pt x="403" y="1301"/>
                  </a:cubicBezTo>
                  <a:cubicBezTo>
                    <a:pt x="526" y="1334"/>
                    <a:pt x="654" y="1356"/>
                    <a:pt x="780" y="1341"/>
                  </a:cubicBezTo>
                  <a:cubicBezTo>
                    <a:pt x="907" y="1325"/>
                    <a:pt x="1032" y="1267"/>
                    <a:pt x="1106" y="1164"/>
                  </a:cubicBezTo>
                  <a:cubicBezTo>
                    <a:pt x="1156" y="1095"/>
                    <a:pt x="1180" y="1012"/>
                    <a:pt x="1203" y="931"/>
                  </a:cubicBezTo>
                  <a:cubicBezTo>
                    <a:pt x="1245" y="784"/>
                    <a:pt x="1245" y="784"/>
                    <a:pt x="1245" y="784"/>
                  </a:cubicBezTo>
                  <a:cubicBezTo>
                    <a:pt x="1255" y="748"/>
                    <a:pt x="1265" y="712"/>
                    <a:pt x="1280" y="679"/>
                  </a:cubicBezTo>
                  <a:cubicBezTo>
                    <a:pt x="1295" y="643"/>
                    <a:pt x="1324" y="616"/>
                    <a:pt x="1339" y="583"/>
                  </a:cubicBezTo>
                  <a:cubicBezTo>
                    <a:pt x="1351" y="556"/>
                    <a:pt x="1343" y="528"/>
                    <a:pt x="1340" y="499"/>
                  </a:cubicBezTo>
                  <a:cubicBezTo>
                    <a:pt x="1336" y="450"/>
                    <a:pt x="1332" y="402"/>
                    <a:pt x="1328" y="353"/>
                  </a:cubicBezTo>
                  <a:close/>
                </a:path>
              </a:pathLst>
            </a:custGeom>
            <a:solidFill>
              <a:srgbClr val="68AFFD">
                <a:alpha val="3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îṣļïďé">
              <a:extLst>
                <a:ext uri="{FF2B5EF4-FFF2-40B4-BE49-F238E27FC236}">
                  <a16:creationId xmlns:a16="http://schemas.microsoft.com/office/drawing/2014/main" id="{15493600-8EFD-4AD9-B585-C4FADE166264}"/>
                </a:ext>
              </a:extLst>
            </p:cNvPr>
            <p:cNvSpPr/>
            <p:nvPr/>
          </p:nvSpPr>
          <p:spPr bwMode="auto">
            <a:xfrm>
              <a:off x="5567855" y="2573020"/>
              <a:ext cx="754660" cy="1250779"/>
            </a:xfrm>
            <a:custGeom>
              <a:avLst/>
              <a:gdLst>
                <a:gd name="T0" fmla="*/ 306 w 312"/>
                <a:gd name="T1" fmla="*/ 518 h 518"/>
                <a:gd name="T2" fmla="*/ 61 w 312"/>
                <a:gd name="T3" fmla="*/ 515 h 518"/>
                <a:gd name="T4" fmla="*/ 5 w 312"/>
                <a:gd name="T5" fmla="*/ 515 h 518"/>
                <a:gd name="T6" fmla="*/ 5 w 312"/>
                <a:gd name="T7" fmla="*/ 514 h 518"/>
                <a:gd name="T8" fmla="*/ 5 w 312"/>
                <a:gd name="T9" fmla="*/ 318 h 518"/>
                <a:gd name="T10" fmla="*/ 5 w 312"/>
                <a:gd name="T11" fmla="*/ 317 h 518"/>
                <a:gd name="T12" fmla="*/ 17 w 312"/>
                <a:gd name="T13" fmla="*/ 193 h 518"/>
                <a:gd name="T14" fmla="*/ 17 w 312"/>
                <a:gd name="T15" fmla="*/ 193 h 518"/>
                <a:gd name="T16" fmla="*/ 67 w 312"/>
                <a:gd name="T17" fmla="*/ 60 h 518"/>
                <a:gd name="T18" fmla="*/ 188 w 312"/>
                <a:gd name="T19" fmla="*/ 14 h 518"/>
                <a:gd name="T20" fmla="*/ 309 w 312"/>
                <a:gd name="T21" fmla="*/ 198 h 518"/>
                <a:gd name="T22" fmla="*/ 306 w 312"/>
                <a:gd name="T23" fmla="*/ 518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2" h="518">
                  <a:moveTo>
                    <a:pt x="306" y="518"/>
                  </a:moveTo>
                  <a:cubicBezTo>
                    <a:pt x="61" y="515"/>
                    <a:pt x="61" y="515"/>
                    <a:pt x="61" y="515"/>
                  </a:cubicBezTo>
                  <a:cubicBezTo>
                    <a:pt x="5" y="515"/>
                    <a:pt x="5" y="515"/>
                    <a:pt x="5" y="515"/>
                  </a:cubicBezTo>
                  <a:cubicBezTo>
                    <a:pt x="5" y="515"/>
                    <a:pt x="5" y="514"/>
                    <a:pt x="5" y="514"/>
                  </a:cubicBezTo>
                  <a:cubicBezTo>
                    <a:pt x="5" y="502"/>
                    <a:pt x="0" y="415"/>
                    <a:pt x="5" y="318"/>
                  </a:cubicBezTo>
                  <a:cubicBezTo>
                    <a:pt x="5" y="318"/>
                    <a:pt x="5" y="318"/>
                    <a:pt x="5" y="317"/>
                  </a:cubicBezTo>
                  <a:cubicBezTo>
                    <a:pt x="7" y="276"/>
                    <a:pt x="11" y="234"/>
                    <a:pt x="17" y="193"/>
                  </a:cubicBezTo>
                  <a:cubicBezTo>
                    <a:pt x="17" y="193"/>
                    <a:pt x="17" y="193"/>
                    <a:pt x="17" y="193"/>
                  </a:cubicBezTo>
                  <a:cubicBezTo>
                    <a:pt x="27" y="134"/>
                    <a:pt x="42" y="84"/>
                    <a:pt x="67" y="60"/>
                  </a:cubicBezTo>
                  <a:cubicBezTo>
                    <a:pt x="71" y="55"/>
                    <a:pt x="116" y="0"/>
                    <a:pt x="188" y="14"/>
                  </a:cubicBezTo>
                  <a:cubicBezTo>
                    <a:pt x="260" y="27"/>
                    <a:pt x="298" y="27"/>
                    <a:pt x="309" y="198"/>
                  </a:cubicBezTo>
                  <a:cubicBezTo>
                    <a:pt x="312" y="238"/>
                    <a:pt x="306" y="518"/>
                    <a:pt x="306" y="518"/>
                  </a:cubicBez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ïš1ïḋê">
              <a:extLst>
                <a:ext uri="{FF2B5EF4-FFF2-40B4-BE49-F238E27FC236}">
                  <a16:creationId xmlns:a16="http://schemas.microsoft.com/office/drawing/2014/main" id="{088C6C7B-1E66-44D6-B07C-EA3C7D7AEA8A}"/>
                </a:ext>
              </a:extLst>
            </p:cNvPr>
            <p:cNvSpPr/>
            <p:nvPr/>
          </p:nvSpPr>
          <p:spPr bwMode="auto">
            <a:xfrm>
              <a:off x="5916069" y="2543905"/>
              <a:ext cx="139752" cy="105979"/>
            </a:xfrm>
            <a:custGeom>
              <a:avLst/>
              <a:gdLst>
                <a:gd name="T0" fmla="*/ 17 w 58"/>
                <a:gd name="T1" fmla="*/ 38 h 44"/>
                <a:gd name="T2" fmla="*/ 23 w 58"/>
                <a:gd name="T3" fmla="*/ 42 h 44"/>
                <a:gd name="T4" fmla="*/ 30 w 58"/>
                <a:gd name="T5" fmla="*/ 43 h 44"/>
                <a:gd name="T6" fmla="*/ 44 w 58"/>
                <a:gd name="T7" fmla="*/ 41 h 44"/>
                <a:gd name="T8" fmla="*/ 55 w 58"/>
                <a:gd name="T9" fmla="*/ 28 h 44"/>
                <a:gd name="T10" fmla="*/ 58 w 58"/>
                <a:gd name="T11" fmla="*/ 11 h 44"/>
                <a:gd name="T12" fmla="*/ 57 w 58"/>
                <a:gd name="T13" fmla="*/ 7 h 44"/>
                <a:gd name="T14" fmla="*/ 52 w 58"/>
                <a:gd name="T15" fmla="*/ 5 h 44"/>
                <a:gd name="T16" fmla="*/ 28 w 58"/>
                <a:gd name="T17" fmla="*/ 3 h 44"/>
                <a:gd name="T18" fmla="*/ 8 w 58"/>
                <a:gd name="T19" fmla="*/ 4 h 44"/>
                <a:gd name="T20" fmla="*/ 17 w 58"/>
                <a:gd name="T21" fmla="*/ 3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" h="44">
                  <a:moveTo>
                    <a:pt x="17" y="38"/>
                  </a:moveTo>
                  <a:cubicBezTo>
                    <a:pt x="19" y="40"/>
                    <a:pt x="21" y="42"/>
                    <a:pt x="23" y="42"/>
                  </a:cubicBezTo>
                  <a:cubicBezTo>
                    <a:pt x="25" y="43"/>
                    <a:pt x="27" y="43"/>
                    <a:pt x="30" y="43"/>
                  </a:cubicBezTo>
                  <a:cubicBezTo>
                    <a:pt x="35" y="44"/>
                    <a:pt x="40" y="43"/>
                    <a:pt x="44" y="41"/>
                  </a:cubicBezTo>
                  <a:cubicBezTo>
                    <a:pt x="49" y="38"/>
                    <a:pt x="53" y="33"/>
                    <a:pt x="55" y="28"/>
                  </a:cubicBezTo>
                  <a:cubicBezTo>
                    <a:pt x="57" y="22"/>
                    <a:pt x="58" y="17"/>
                    <a:pt x="58" y="11"/>
                  </a:cubicBezTo>
                  <a:cubicBezTo>
                    <a:pt x="58" y="10"/>
                    <a:pt x="58" y="8"/>
                    <a:pt x="57" y="7"/>
                  </a:cubicBezTo>
                  <a:cubicBezTo>
                    <a:pt x="56" y="6"/>
                    <a:pt x="54" y="5"/>
                    <a:pt x="52" y="5"/>
                  </a:cubicBezTo>
                  <a:cubicBezTo>
                    <a:pt x="44" y="4"/>
                    <a:pt x="36" y="3"/>
                    <a:pt x="28" y="3"/>
                  </a:cubicBezTo>
                  <a:cubicBezTo>
                    <a:pt x="23" y="3"/>
                    <a:pt x="11" y="0"/>
                    <a:pt x="8" y="4"/>
                  </a:cubicBezTo>
                  <a:cubicBezTo>
                    <a:pt x="0" y="12"/>
                    <a:pt x="11" y="32"/>
                    <a:pt x="17" y="38"/>
                  </a:cubicBezTo>
                  <a:close/>
                </a:path>
              </a:pathLst>
            </a:custGeom>
            <a:solidFill>
              <a:srgbClr val="FFED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îṥ1íḋè">
              <a:extLst>
                <a:ext uri="{FF2B5EF4-FFF2-40B4-BE49-F238E27FC236}">
                  <a16:creationId xmlns:a16="http://schemas.microsoft.com/office/drawing/2014/main" id="{6AB4929E-98CB-40E9-9309-C174F0033E39}"/>
                </a:ext>
              </a:extLst>
            </p:cNvPr>
            <p:cNvSpPr/>
            <p:nvPr/>
          </p:nvSpPr>
          <p:spPr bwMode="auto">
            <a:xfrm>
              <a:off x="5855510" y="2152600"/>
              <a:ext cx="285327" cy="386647"/>
            </a:xfrm>
            <a:custGeom>
              <a:avLst/>
              <a:gdLst>
                <a:gd name="T0" fmla="*/ 3 w 118"/>
                <a:gd name="T1" fmla="*/ 107 h 160"/>
                <a:gd name="T2" fmla="*/ 11 w 118"/>
                <a:gd name="T3" fmla="*/ 136 h 160"/>
                <a:gd name="T4" fmla="*/ 53 w 118"/>
                <a:gd name="T5" fmla="*/ 159 h 160"/>
                <a:gd name="T6" fmla="*/ 89 w 118"/>
                <a:gd name="T7" fmla="*/ 149 h 160"/>
                <a:gd name="T8" fmla="*/ 104 w 118"/>
                <a:gd name="T9" fmla="*/ 131 h 160"/>
                <a:gd name="T10" fmla="*/ 112 w 118"/>
                <a:gd name="T11" fmla="*/ 117 h 160"/>
                <a:gd name="T12" fmla="*/ 115 w 118"/>
                <a:gd name="T13" fmla="*/ 98 h 160"/>
                <a:gd name="T14" fmla="*/ 118 w 118"/>
                <a:gd name="T15" fmla="*/ 53 h 160"/>
                <a:gd name="T16" fmla="*/ 117 w 118"/>
                <a:gd name="T17" fmla="*/ 35 h 160"/>
                <a:gd name="T18" fmla="*/ 102 w 118"/>
                <a:gd name="T19" fmla="*/ 7 h 160"/>
                <a:gd name="T20" fmla="*/ 93 w 118"/>
                <a:gd name="T21" fmla="*/ 1 h 160"/>
                <a:gd name="T22" fmla="*/ 82 w 118"/>
                <a:gd name="T23" fmla="*/ 0 h 160"/>
                <a:gd name="T24" fmla="*/ 62 w 118"/>
                <a:gd name="T25" fmla="*/ 2 h 160"/>
                <a:gd name="T26" fmla="*/ 49 w 118"/>
                <a:gd name="T27" fmla="*/ 5 h 160"/>
                <a:gd name="T28" fmla="*/ 31 w 118"/>
                <a:gd name="T29" fmla="*/ 16 h 160"/>
                <a:gd name="T30" fmla="*/ 5 w 118"/>
                <a:gd name="T31" fmla="*/ 56 h 160"/>
                <a:gd name="T32" fmla="*/ 0 w 118"/>
                <a:gd name="T33" fmla="*/ 77 h 160"/>
                <a:gd name="T34" fmla="*/ 3 w 118"/>
                <a:gd name="T35" fmla="*/ 10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" h="160">
                  <a:moveTo>
                    <a:pt x="3" y="107"/>
                  </a:moveTo>
                  <a:cubicBezTo>
                    <a:pt x="4" y="117"/>
                    <a:pt x="6" y="127"/>
                    <a:pt x="11" y="136"/>
                  </a:cubicBezTo>
                  <a:cubicBezTo>
                    <a:pt x="19" y="150"/>
                    <a:pt x="36" y="158"/>
                    <a:pt x="53" y="159"/>
                  </a:cubicBezTo>
                  <a:cubicBezTo>
                    <a:pt x="66" y="160"/>
                    <a:pt x="79" y="157"/>
                    <a:pt x="89" y="149"/>
                  </a:cubicBezTo>
                  <a:cubicBezTo>
                    <a:pt x="95" y="144"/>
                    <a:pt x="100" y="138"/>
                    <a:pt x="104" y="131"/>
                  </a:cubicBezTo>
                  <a:cubicBezTo>
                    <a:pt x="107" y="127"/>
                    <a:pt x="110" y="122"/>
                    <a:pt x="112" y="117"/>
                  </a:cubicBezTo>
                  <a:cubicBezTo>
                    <a:pt x="114" y="111"/>
                    <a:pt x="115" y="104"/>
                    <a:pt x="115" y="98"/>
                  </a:cubicBezTo>
                  <a:cubicBezTo>
                    <a:pt x="117" y="83"/>
                    <a:pt x="118" y="68"/>
                    <a:pt x="118" y="53"/>
                  </a:cubicBezTo>
                  <a:cubicBezTo>
                    <a:pt x="118" y="47"/>
                    <a:pt x="118" y="41"/>
                    <a:pt x="117" y="35"/>
                  </a:cubicBezTo>
                  <a:cubicBezTo>
                    <a:pt x="115" y="25"/>
                    <a:pt x="110" y="15"/>
                    <a:pt x="102" y="7"/>
                  </a:cubicBezTo>
                  <a:cubicBezTo>
                    <a:pt x="100" y="4"/>
                    <a:pt x="96" y="2"/>
                    <a:pt x="93" y="1"/>
                  </a:cubicBezTo>
                  <a:cubicBezTo>
                    <a:pt x="89" y="0"/>
                    <a:pt x="85" y="0"/>
                    <a:pt x="82" y="0"/>
                  </a:cubicBezTo>
                  <a:cubicBezTo>
                    <a:pt x="75" y="1"/>
                    <a:pt x="69" y="1"/>
                    <a:pt x="62" y="2"/>
                  </a:cubicBezTo>
                  <a:cubicBezTo>
                    <a:pt x="58" y="2"/>
                    <a:pt x="53" y="3"/>
                    <a:pt x="49" y="5"/>
                  </a:cubicBezTo>
                  <a:cubicBezTo>
                    <a:pt x="42" y="7"/>
                    <a:pt x="36" y="11"/>
                    <a:pt x="31" y="16"/>
                  </a:cubicBezTo>
                  <a:cubicBezTo>
                    <a:pt x="19" y="27"/>
                    <a:pt x="10" y="41"/>
                    <a:pt x="5" y="56"/>
                  </a:cubicBezTo>
                  <a:cubicBezTo>
                    <a:pt x="2" y="63"/>
                    <a:pt x="1" y="70"/>
                    <a:pt x="0" y="77"/>
                  </a:cubicBezTo>
                  <a:cubicBezTo>
                    <a:pt x="0" y="87"/>
                    <a:pt x="1" y="97"/>
                    <a:pt x="3" y="107"/>
                  </a:cubicBezTo>
                  <a:close/>
                </a:path>
              </a:pathLst>
            </a:custGeom>
            <a:solidFill>
              <a:srgbClr val="FFED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îşľîḋé">
              <a:extLst>
                <a:ext uri="{FF2B5EF4-FFF2-40B4-BE49-F238E27FC236}">
                  <a16:creationId xmlns:a16="http://schemas.microsoft.com/office/drawing/2014/main" id="{375CFB2D-4BC3-4457-A759-9EF3F569F928}"/>
                </a:ext>
              </a:extLst>
            </p:cNvPr>
            <p:cNvSpPr/>
            <p:nvPr/>
          </p:nvSpPr>
          <p:spPr bwMode="auto">
            <a:xfrm>
              <a:off x="5804268" y="2053609"/>
              <a:ext cx="435560" cy="308619"/>
            </a:xfrm>
            <a:custGeom>
              <a:avLst/>
              <a:gdLst>
                <a:gd name="T0" fmla="*/ 5 w 180"/>
                <a:gd name="T1" fmla="*/ 97 h 128"/>
                <a:gd name="T2" fmla="*/ 1 w 180"/>
                <a:gd name="T3" fmla="*/ 77 h 128"/>
                <a:gd name="T4" fmla="*/ 8 w 180"/>
                <a:gd name="T5" fmla="*/ 37 h 128"/>
                <a:gd name="T6" fmla="*/ 13 w 180"/>
                <a:gd name="T7" fmla="*/ 27 h 128"/>
                <a:gd name="T8" fmla="*/ 24 w 180"/>
                <a:gd name="T9" fmla="*/ 19 h 128"/>
                <a:gd name="T10" fmla="*/ 115 w 180"/>
                <a:gd name="T11" fmla="*/ 8 h 128"/>
                <a:gd name="T12" fmla="*/ 168 w 180"/>
                <a:gd name="T13" fmla="*/ 16 h 128"/>
                <a:gd name="T14" fmla="*/ 163 w 180"/>
                <a:gd name="T15" fmla="*/ 25 h 128"/>
                <a:gd name="T16" fmla="*/ 179 w 180"/>
                <a:gd name="T17" fmla="*/ 20 h 128"/>
                <a:gd name="T18" fmla="*/ 175 w 180"/>
                <a:gd name="T19" fmla="*/ 30 h 128"/>
                <a:gd name="T20" fmla="*/ 180 w 180"/>
                <a:gd name="T21" fmla="*/ 28 h 128"/>
                <a:gd name="T22" fmla="*/ 161 w 180"/>
                <a:gd name="T23" fmla="*/ 57 h 128"/>
                <a:gd name="T24" fmla="*/ 156 w 180"/>
                <a:gd name="T25" fmla="*/ 64 h 128"/>
                <a:gd name="T26" fmla="*/ 154 w 180"/>
                <a:gd name="T27" fmla="*/ 78 h 128"/>
                <a:gd name="T28" fmla="*/ 148 w 180"/>
                <a:gd name="T29" fmla="*/ 98 h 128"/>
                <a:gd name="T30" fmla="*/ 141 w 180"/>
                <a:gd name="T31" fmla="*/ 117 h 128"/>
                <a:gd name="T32" fmla="*/ 133 w 180"/>
                <a:gd name="T33" fmla="*/ 69 h 128"/>
                <a:gd name="T34" fmla="*/ 126 w 180"/>
                <a:gd name="T35" fmla="*/ 62 h 128"/>
                <a:gd name="T36" fmla="*/ 107 w 180"/>
                <a:gd name="T37" fmla="*/ 63 h 128"/>
                <a:gd name="T38" fmla="*/ 55 w 180"/>
                <a:gd name="T39" fmla="*/ 63 h 128"/>
                <a:gd name="T40" fmla="*/ 45 w 180"/>
                <a:gd name="T41" fmla="*/ 65 h 128"/>
                <a:gd name="T42" fmla="*/ 40 w 180"/>
                <a:gd name="T43" fmla="*/ 69 h 128"/>
                <a:gd name="T44" fmla="*/ 30 w 180"/>
                <a:gd name="T45" fmla="*/ 85 h 128"/>
                <a:gd name="T46" fmla="*/ 25 w 180"/>
                <a:gd name="T47" fmla="*/ 103 h 128"/>
                <a:gd name="T48" fmla="*/ 21 w 180"/>
                <a:gd name="T49" fmla="*/ 122 h 128"/>
                <a:gd name="T50" fmla="*/ 5 w 180"/>
                <a:gd name="T51" fmla="*/ 97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0" h="128">
                  <a:moveTo>
                    <a:pt x="5" y="97"/>
                  </a:moveTo>
                  <a:cubicBezTo>
                    <a:pt x="3" y="90"/>
                    <a:pt x="2" y="84"/>
                    <a:pt x="1" y="77"/>
                  </a:cubicBezTo>
                  <a:cubicBezTo>
                    <a:pt x="0" y="63"/>
                    <a:pt x="3" y="49"/>
                    <a:pt x="8" y="37"/>
                  </a:cubicBezTo>
                  <a:cubicBezTo>
                    <a:pt x="10" y="33"/>
                    <a:pt x="11" y="30"/>
                    <a:pt x="13" y="27"/>
                  </a:cubicBezTo>
                  <a:cubicBezTo>
                    <a:pt x="16" y="24"/>
                    <a:pt x="20" y="21"/>
                    <a:pt x="24" y="19"/>
                  </a:cubicBezTo>
                  <a:cubicBezTo>
                    <a:pt x="50" y="2"/>
                    <a:pt x="84" y="0"/>
                    <a:pt x="115" y="8"/>
                  </a:cubicBezTo>
                  <a:cubicBezTo>
                    <a:pt x="133" y="13"/>
                    <a:pt x="151" y="21"/>
                    <a:pt x="168" y="16"/>
                  </a:cubicBezTo>
                  <a:cubicBezTo>
                    <a:pt x="167" y="19"/>
                    <a:pt x="166" y="22"/>
                    <a:pt x="163" y="25"/>
                  </a:cubicBezTo>
                  <a:cubicBezTo>
                    <a:pt x="169" y="25"/>
                    <a:pt x="174" y="23"/>
                    <a:pt x="179" y="20"/>
                  </a:cubicBezTo>
                  <a:cubicBezTo>
                    <a:pt x="178" y="23"/>
                    <a:pt x="177" y="27"/>
                    <a:pt x="175" y="30"/>
                  </a:cubicBezTo>
                  <a:cubicBezTo>
                    <a:pt x="180" y="28"/>
                    <a:pt x="180" y="28"/>
                    <a:pt x="180" y="28"/>
                  </a:cubicBezTo>
                  <a:cubicBezTo>
                    <a:pt x="175" y="38"/>
                    <a:pt x="168" y="48"/>
                    <a:pt x="161" y="57"/>
                  </a:cubicBezTo>
                  <a:cubicBezTo>
                    <a:pt x="159" y="59"/>
                    <a:pt x="157" y="62"/>
                    <a:pt x="156" y="64"/>
                  </a:cubicBezTo>
                  <a:cubicBezTo>
                    <a:pt x="155" y="69"/>
                    <a:pt x="154" y="73"/>
                    <a:pt x="154" y="78"/>
                  </a:cubicBezTo>
                  <a:cubicBezTo>
                    <a:pt x="153" y="84"/>
                    <a:pt x="151" y="91"/>
                    <a:pt x="148" y="98"/>
                  </a:cubicBezTo>
                  <a:cubicBezTo>
                    <a:pt x="141" y="117"/>
                    <a:pt x="141" y="117"/>
                    <a:pt x="141" y="117"/>
                  </a:cubicBezTo>
                  <a:cubicBezTo>
                    <a:pt x="138" y="101"/>
                    <a:pt x="142" y="83"/>
                    <a:pt x="133" y="69"/>
                  </a:cubicBezTo>
                  <a:cubicBezTo>
                    <a:pt x="131" y="66"/>
                    <a:pt x="129" y="64"/>
                    <a:pt x="126" y="62"/>
                  </a:cubicBezTo>
                  <a:cubicBezTo>
                    <a:pt x="120" y="59"/>
                    <a:pt x="113" y="62"/>
                    <a:pt x="107" y="63"/>
                  </a:cubicBezTo>
                  <a:cubicBezTo>
                    <a:pt x="90" y="67"/>
                    <a:pt x="72" y="64"/>
                    <a:pt x="55" y="63"/>
                  </a:cubicBezTo>
                  <a:cubicBezTo>
                    <a:pt x="52" y="63"/>
                    <a:pt x="48" y="63"/>
                    <a:pt x="45" y="65"/>
                  </a:cubicBezTo>
                  <a:cubicBezTo>
                    <a:pt x="43" y="66"/>
                    <a:pt x="41" y="67"/>
                    <a:pt x="40" y="69"/>
                  </a:cubicBezTo>
                  <a:cubicBezTo>
                    <a:pt x="36" y="74"/>
                    <a:pt x="32" y="79"/>
                    <a:pt x="30" y="85"/>
                  </a:cubicBezTo>
                  <a:cubicBezTo>
                    <a:pt x="28" y="91"/>
                    <a:pt x="26" y="97"/>
                    <a:pt x="25" y="103"/>
                  </a:cubicBezTo>
                  <a:cubicBezTo>
                    <a:pt x="24" y="107"/>
                    <a:pt x="24" y="119"/>
                    <a:pt x="21" y="122"/>
                  </a:cubicBezTo>
                  <a:cubicBezTo>
                    <a:pt x="14" y="128"/>
                    <a:pt x="6" y="101"/>
                    <a:pt x="5" y="97"/>
                  </a:cubicBez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iṡḻîďè">
              <a:extLst>
                <a:ext uri="{FF2B5EF4-FFF2-40B4-BE49-F238E27FC236}">
                  <a16:creationId xmlns:a16="http://schemas.microsoft.com/office/drawing/2014/main" id="{5BBA7F36-BCF8-49B1-B0A5-CAF171C167CC}"/>
                </a:ext>
              </a:extLst>
            </p:cNvPr>
            <p:cNvSpPr/>
            <p:nvPr/>
          </p:nvSpPr>
          <p:spPr bwMode="auto">
            <a:xfrm>
              <a:off x="5846194" y="2330784"/>
              <a:ext cx="301631" cy="239907"/>
            </a:xfrm>
            <a:custGeom>
              <a:avLst/>
              <a:gdLst>
                <a:gd name="T0" fmla="*/ 120 w 125"/>
                <a:gd name="T1" fmla="*/ 39 h 99"/>
                <a:gd name="T2" fmla="*/ 107 w 125"/>
                <a:gd name="T3" fmla="*/ 84 h 99"/>
                <a:gd name="T4" fmla="*/ 77 w 125"/>
                <a:gd name="T5" fmla="*/ 98 h 99"/>
                <a:gd name="T6" fmla="*/ 43 w 125"/>
                <a:gd name="T7" fmla="*/ 97 h 99"/>
                <a:gd name="T8" fmla="*/ 30 w 125"/>
                <a:gd name="T9" fmla="*/ 93 h 99"/>
                <a:gd name="T10" fmla="*/ 8 w 125"/>
                <a:gd name="T11" fmla="*/ 66 h 99"/>
                <a:gd name="T12" fmla="*/ 3 w 125"/>
                <a:gd name="T13" fmla="*/ 43 h 99"/>
                <a:gd name="T14" fmla="*/ 4 w 125"/>
                <a:gd name="T15" fmla="*/ 6 h 99"/>
                <a:gd name="T16" fmla="*/ 15 w 125"/>
                <a:gd name="T17" fmla="*/ 29 h 99"/>
                <a:gd name="T18" fmla="*/ 23 w 125"/>
                <a:gd name="T19" fmla="*/ 37 h 99"/>
                <a:gd name="T20" fmla="*/ 39 w 125"/>
                <a:gd name="T21" fmla="*/ 41 h 99"/>
                <a:gd name="T22" fmla="*/ 65 w 125"/>
                <a:gd name="T23" fmla="*/ 42 h 99"/>
                <a:gd name="T24" fmla="*/ 89 w 125"/>
                <a:gd name="T25" fmla="*/ 39 h 99"/>
                <a:gd name="T26" fmla="*/ 108 w 125"/>
                <a:gd name="T27" fmla="*/ 25 h 99"/>
                <a:gd name="T28" fmla="*/ 121 w 125"/>
                <a:gd name="T29" fmla="*/ 2 h 99"/>
                <a:gd name="T30" fmla="*/ 120 w 125"/>
                <a:gd name="T31" fmla="*/ 3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5" h="99">
                  <a:moveTo>
                    <a:pt x="120" y="39"/>
                  </a:moveTo>
                  <a:cubicBezTo>
                    <a:pt x="119" y="55"/>
                    <a:pt x="117" y="72"/>
                    <a:pt x="107" y="84"/>
                  </a:cubicBezTo>
                  <a:cubicBezTo>
                    <a:pt x="99" y="92"/>
                    <a:pt x="88" y="97"/>
                    <a:pt x="77" y="98"/>
                  </a:cubicBezTo>
                  <a:cubicBezTo>
                    <a:pt x="65" y="99"/>
                    <a:pt x="54" y="98"/>
                    <a:pt x="43" y="97"/>
                  </a:cubicBezTo>
                  <a:cubicBezTo>
                    <a:pt x="38" y="96"/>
                    <a:pt x="34" y="95"/>
                    <a:pt x="30" y="93"/>
                  </a:cubicBezTo>
                  <a:cubicBezTo>
                    <a:pt x="19" y="88"/>
                    <a:pt x="11" y="78"/>
                    <a:pt x="8" y="66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0" y="31"/>
                    <a:pt x="4" y="18"/>
                    <a:pt x="4" y="6"/>
                  </a:cubicBezTo>
                  <a:cubicBezTo>
                    <a:pt x="7" y="14"/>
                    <a:pt x="10" y="22"/>
                    <a:pt x="15" y="29"/>
                  </a:cubicBezTo>
                  <a:cubicBezTo>
                    <a:pt x="17" y="32"/>
                    <a:pt x="20" y="35"/>
                    <a:pt x="23" y="37"/>
                  </a:cubicBezTo>
                  <a:cubicBezTo>
                    <a:pt x="28" y="40"/>
                    <a:pt x="33" y="41"/>
                    <a:pt x="39" y="41"/>
                  </a:cubicBezTo>
                  <a:cubicBezTo>
                    <a:pt x="48" y="42"/>
                    <a:pt x="56" y="42"/>
                    <a:pt x="65" y="42"/>
                  </a:cubicBezTo>
                  <a:cubicBezTo>
                    <a:pt x="73" y="42"/>
                    <a:pt x="81" y="41"/>
                    <a:pt x="89" y="39"/>
                  </a:cubicBezTo>
                  <a:cubicBezTo>
                    <a:pt x="97" y="37"/>
                    <a:pt x="104" y="32"/>
                    <a:pt x="108" y="25"/>
                  </a:cubicBezTo>
                  <a:cubicBezTo>
                    <a:pt x="110" y="21"/>
                    <a:pt x="117" y="0"/>
                    <a:pt x="121" y="2"/>
                  </a:cubicBezTo>
                  <a:cubicBezTo>
                    <a:pt x="125" y="5"/>
                    <a:pt x="120" y="34"/>
                    <a:pt x="120" y="39"/>
                  </a:cubicBez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iṧḻidê">
              <a:extLst>
                <a:ext uri="{FF2B5EF4-FFF2-40B4-BE49-F238E27FC236}">
                  <a16:creationId xmlns:a16="http://schemas.microsoft.com/office/drawing/2014/main" id="{CA103C7A-149C-4F59-B3F8-E9CE4FF6FE1D}"/>
                </a:ext>
              </a:extLst>
            </p:cNvPr>
            <p:cNvSpPr/>
            <p:nvPr/>
          </p:nvSpPr>
          <p:spPr bwMode="auto">
            <a:xfrm>
              <a:off x="5949843" y="2463548"/>
              <a:ext cx="109472" cy="53572"/>
            </a:xfrm>
            <a:custGeom>
              <a:avLst/>
              <a:gdLst>
                <a:gd name="T0" fmla="*/ 40 w 45"/>
                <a:gd name="T1" fmla="*/ 0 h 22"/>
                <a:gd name="T2" fmla="*/ 42 w 45"/>
                <a:gd name="T3" fmla="*/ 0 h 22"/>
                <a:gd name="T4" fmla="*/ 44 w 45"/>
                <a:gd name="T5" fmla="*/ 4 h 22"/>
                <a:gd name="T6" fmla="*/ 35 w 45"/>
                <a:gd name="T7" fmla="*/ 19 h 22"/>
                <a:gd name="T8" fmla="*/ 17 w 45"/>
                <a:gd name="T9" fmla="*/ 21 h 22"/>
                <a:gd name="T10" fmla="*/ 10 w 45"/>
                <a:gd name="T11" fmla="*/ 20 h 22"/>
                <a:gd name="T12" fmla="*/ 4 w 45"/>
                <a:gd name="T13" fmla="*/ 15 h 22"/>
                <a:gd name="T14" fmla="*/ 1 w 45"/>
                <a:gd name="T15" fmla="*/ 11 h 22"/>
                <a:gd name="T16" fmla="*/ 2 w 45"/>
                <a:gd name="T17" fmla="*/ 5 h 22"/>
                <a:gd name="T18" fmla="*/ 18 w 45"/>
                <a:gd name="T19" fmla="*/ 0 h 22"/>
                <a:gd name="T20" fmla="*/ 40 w 45"/>
                <a:gd name="T2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">
                  <a:moveTo>
                    <a:pt x="40" y="0"/>
                  </a:moveTo>
                  <a:cubicBezTo>
                    <a:pt x="41" y="0"/>
                    <a:pt x="42" y="0"/>
                    <a:pt x="42" y="0"/>
                  </a:cubicBezTo>
                  <a:cubicBezTo>
                    <a:pt x="43" y="1"/>
                    <a:pt x="44" y="2"/>
                    <a:pt x="44" y="4"/>
                  </a:cubicBezTo>
                  <a:cubicBezTo>
                    <a:pt x="45" y="10"/>
                    <a:pt x="41" y="16"/>
                    <a:pt x="35" y="19"/>
                  </a:cubicBezTo>
                  <a:cubicBezTo>
                    <a:pt x="29" y="21"/>
                    <a:pt x="23" y="22"/>
                    <a:pt x="17" y="21"/>
                  </a:cubicBezTo>
                  <a:cubicBezTo>
                    <a:pt x="14" y="21"/>
                    <a:pt x="12" y="20"/>
                    <a:pt x="10" y="20"/>
                  </a:cubicBezTo>
                  <a:cubicBezTo>
                    <a:pt x="7" y="18"/>
                    <a:pt x="5" y="17"/>
                    <a:pt x="4" y="15"/>
                  </a:cubicBezTo>
                  <a:cubicBezTo>
                    <a:pt x="3" y="14"/>
                    <a:pt x="2" y="13"/>
                    <a:pt x="1" y="11"/>
                  </a:cubicBezTo>
                  <a:cubicBezTo>
                    <a:pt x="0" y="9"/>
                    <a:pt x="1" y="7"/>
                    <a:pt x="2" y="5"/>
                  </a:cubicBezTo>
                  <a:cubicBezTo>
                    <a:pt x="6" y="0"/>
                    <a:pt x="13" y="0"/>
                    <a:pt x="18" y="0"/>
                  </a:cubicBezTo>
                  <a:cubicBezTo>
                    <a:pt x="25" y="0"/>
                    <a:pt x="33" y="0"/>
                    <a:pt x="40" y="0"/>
                  </a:cubicBezTo>
                  <a:close/>
                </a:path>
              </a:pathLst>
            </a:custGeom>
            <a:solidFill>
              <a:srgbClr val="FFED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işḻiḓe">
              <a:extLst>
                <a:ext uri="{FF2B5EF4-FFF2-40B4-BE49-F238E27FC236}">
                  <a16:creationId xmlns:a16="http://schemas.microsoft.com/office/drawing/2014/main" id="{DC188DDE-F290-43AC-A773-8BA604ABFC37}"/>
                </a:ext>
              </a:extLst>
            </p:cNvPr>
            <p:cNvSpPr/>
            <p:nvPr/>
          </p:nvSpPr>
          <p:spPr bwMode="auto">
            <a:xfrm>
              <a:off x="5487497" y="3816812"/>
              <a:ext cx="821042" cy="1657224"/>
            </a:xfrm>
            <a:custGeom>
              <a:avLst/>
              <a:gdLst>
                <a:gd name="T0" fmla="*/ 38 w 339"/>
                <a:gd name="T1" fmla="*/ 0 h 686"/>
                <a:gd name="T2" fmla="*/ 70 w 339"/>
                <a:gd name="T3" fmla="*/ 530 h 686"/>
                <a:gd name="T4" fmla="*/ 68 w 339"/>
                <a:gd name="T5" fmla="*/ 612 h 686"/>
                <a:gd name="T6" fmla="*/ 2 w 339"/>
                <a:gd name="T7" fmla="*/ 664 h 686"/>
                <a:gd name="T8" fmla="*/ 104 w 339"/>
                <a:gd name="T9" fmla="*/ 673 h 686"/>
                <a:gd name="T10" fmla="*/ 157 w 339"/>
                <a:gd name="T11" fmla="*/ 199 h 686"/>
                <a:gd name="T12" fmla="*/ 216 w 339"/>
                <a:gd name="T13" fmla="*/ 194 h 686"/>
                <a:gd name="T14" fmla="*/ 219 w 339"/>
                <a:gd name="T15" fmla="*/ 678 h 686"/>
                <a:gd name="T16" fmla="*/ 314 w 339"/>
                <a:gd name="T17" fmla="*/ 676 h 686"/>
                <a:gd name="T18" fmla="*/ 276 w 339"/>
                <a:gd name="T19" fmla="*/ 624 h 686"/>
                <a:gd name="T20" fmla="*/ 333 w 339"/>
                <a:gd name="T21" fmla="*/ 152 h 686"/>
                <a:gd name="T22" fmla="*/ 339 w 339"/>
                <a:gd name="T23" fmla="*/ 3 h 686"/>
                <a:gd name="T24" fmla="*/ 38 w 339"/>
                <a:gd name="T25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9" h="686">
                  <a:moveTo>
                    <a:pt x="38" y="0"/>
                  </a:moveTo>
                  <a:cubicBezTo>
                    <a:pt x="70" y="530"/>
                    <a:pt x="70" y="530"/>
                    <a:pt x="70" y="530"/>
                  </a:cubicBezTo>
                  <a:cubicBezTo>
                    <a:pt x="68" y="612"/>
                    <a:pt x="68" y="612"/>
                    <a:pt x="68" y="612"/>
                  </a:cubicBezTo>
                  <a:cubicBezTo>
                    <a:pt x="68" y="612"/>
                    <a:pt x="4" y="646"/>
                    <a:pt x="2" y="664"/>
                  </a:cubicBezTo>
                  <a:cubicBezTo>
                    <a:pt x="0" y="682"/>
                    <a:pt x="104" y="673"/>
                    <a:pt x="104" y="673"/>
                  </a:cubicBezTo>
                  <a:cubicBezTo>
                    <a:pt x="157" y="199"/>
                    <a:pt x="157" y="199"/>
                    <a:pt x="157" y="199"/>
                  </a:cubicBezTo>
                  <a:cubicBezTo>
                    <a:pt x="157" y="199"/>
                    <a:pt x="196" y="146"/>
                    <a:pt x="216" y="194"/>
                  </a:cubicBezTo>
                  <a:cubicBezTo>
                    <a:pt x="237" y="242"/>
                    <a:pt x="219" y="678"/>
                    <a:pt x="219" y="678"/>
                  </a:cubicBezTo>
                  <a:cubicBezTo>
                    <a:pt x="219" y="678"/>
                    <a:pt x="307" y="686"/>
                    <a:pt x="314" y="676"/>
                  </a:cubicBezTo>
                  <a:cubicBezTo>
                    <a:pt x="321" y="665"/>
                    <a:pt x="276" y="624"/>
                    <a:pt x="276" y="624"/>
                  </a:cubicBezTo>
                  <a:cubicBezTo>
                    <a:pt x="276" y="624"/>
                    <a:pt x="333" y="186"/>
                    <a:pt x="333" y="152"/>
                  </a:cubicBezTo>
                  <a:cubicBezTo>
                    <a:pt x="333" y="118"/>
                    <a:pt x="339" y="3"/>
                    <a:pt x="339" y="3"/>
                  </a:cubicBezTo>
                  <a:lnTo>
                    <a:pt x="38" y="0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îŝļîḍê">
              <a:extLst>
                <a:ext uri="{FF2B5EF4-FFF2-40B4-BE49-F238E27FC236}">
                  <a16:creationId xmlns:a16="http://schemas.microsoft.com/office/drawing/2014/main" id="{75D84227-5893-4ADC-B491-150D2F4E27C4}"/>
                </a:ext>
              </a:extLst>
            </p:cNvPr>
            <p:cNvSpPr/>
            <p:nvPr/>
          </p:nvSpPr>
          <p:spPr bwMode="auto">
            <a:xfrm>
              <a:off x="6084937" y="2582337"/>
              <a:ext cx="963124" cy="564831"/>
            </a:xfrm>
            <a:custGeom>
              <a:avLst/>
              <a:gdLst>
                <a:gd name="T0" fmla="*/ 72 w 398"/>
                <a:gd name="T1" fmla="*/ 43 h 234"/>
                <a:gd name="T2" fmla="*/ 176 w 398"/>
                <a:gd name="T3" fmla="*/ 133 h 234"/>
                <a:gd name="T4" fmla="*/ 341 w 398"/>
                <a:gd name="T5" fmla="*/ 49 h 234"/>
                <a:gd name="T6" fmla="*/ 318 w 398"/>
                <a:gd name="T7" fmla="*/ 158 h 234"/>
                <a:gd name="T8" fmla="*/ 222 w 398"/>
                <a:gd name="T9" fmla="*/ 213 h 234"/>
                <a:gd name="T10" fmla="*/ 106 w 398"/>
                <a:gd name="T11" fmla="*/ 198 h 234"/>
                <a:gd name="T12" fmla="*/ 50 w 398"/>
                <a:gd name="T13" fmla="*/ 144 h 234"/>
                <a:gd name="T14" fmla="*/ 10 w 398"/>
                <a:gd name="T15" fmla="*/ 87 h 234"/>
                <a:gd name="T16" fmla="*/ 8 w 398"/>
                <a:gd name="T17" fmla="*/ 74 h 234"/>
                <a:gd name="T18" fmla="*/ 72 w 398"/>
                <a:gd name="T19" fmla="*/ 43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8" h="234">
                  <a:moveTo>
                    <a:pt x="72" y="43"/>
                  </a:moveTo>
                  <a:cubicBezTo>
                    <a:pt x="176" y="133"/>
                    <a:pt x="176" y="133"/>
                    <a:pt x="176" y="133"/>
                  </a:cubicBezTo>
                  <a:cubicBezTo>
                    <a:pt x="176" y="133"/>
                    <a:pt x="316" y="42"/>
                    <a:pt x="341" y="49"/>
                  </a:cubicBezTo>
                  <a:cubicBezTo>
                    <a:pt x="366" y="55"/>
                    <a:pt x="398" y="122"/>
                    <a:pt x="318" y="158"/>
                  </a:cubicBezTo>
                  <a:cubicBezTo>
                    <a:pt x="294" y="169"/>
                    <a:pt x="257" y="193"/>
                    <a:pt x="222" y="213"/>
                  </a:cubicBezTo>
                  <a:cubicBezTo>
                    <a:pt x="185" y="234"/>
                    <a:pt x="138" y="228"/>
                    <a:pt x="106" y="198"/>
                  </a:cubicBezTo>
                  <a:cubicBezTo>
                    <a:pt x="50" y="144"/>
                    <a:pt x="50" y="144"/>
                    <a:pt x="50" y="144"/>
                  </a:cubicBezTo>
                  <a:cubicBezTo>
                    <a:pt x="33" y="124"/>
                    <a:pt x="10" y="114"/>
                    <a:pt x="10" y="87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7" y="42"/>
                    <a:pt x="0" y="0"/>
                    <a:pt x="72" y="43"/>
                  </a:cubicBez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íşliďé">
              <a:extLst>
                <a:ext uri="{FF2B5EF4-FFF2-40B4-BE49-F238E27FC236}">
                  <a16:creationId xmlns:a16="http://schemas.microsoft.com/office/drawing/2014/main" id="{D2BAB587-E680-4C33-896D-1E51DD6F707E}"/>
                </a:ext>
              </a:extLst>
            </p:cNvPr>
            <p:cNvSpPr/>
            <p:nvPr/>
          </p:nvSpPr>
          <p:spPr bwMode="auto">
            <a:xfrm>
              <a:off x="4865601" y="2635909"/>
              <a:ext cx="1003884" cy="432066"/>
            </a:xfrm>
            <a:custGeom>
              <a:avLst/>
              <a:gdLst>
                <a:gd name="T0" fmla="*/ 300 w 415"/>
                <a:gd name="T1" fmla="*/ 48 h 179"/>
                <a:gd name="T2" fmla="*/ 251 w 415"/>
                <a:gd name="T3" fmla="*/ 66 h 179"/>
                <a:gd name="T4" fmla="*/ 198 w 415"/>
                <a:gd name="T5" fmla="*/ 64 h 179"/>
                <a:gd name="T6" fmla="*/ 86 w 415"/>
                <a:gd name="T7" fmla="*/ 38 h 179"/>
                <a:gd name="T8" fmla="*/ 45 w 415"/>
                <a:gd name="T9" fmla="*/ 30 h 179"/>
                <a:gd name="T10" fmla="*/ 10 w 415"/>
                <a:gd name="T11" fmla="*/ 50 h 179"/>
                <a:gd name="T12" fmla="*/ 43 w 415"/>
                <a:gd name="T13" fmla="*/ 109 h 179"/>
                <a:gd name="T14" fmla="*/ 202 w 415"/>
                <a:gd name="T15" fmla="*/ 169 h 179"/>
                <a:gd name="T16" fmla="*/ 255 w 415"/>
                <a:gd name="T17" fmla="*/ 178 h 179"/>
                <a:gd name="T18" fmla="*/ 309 w 415"/>
                <a:gd name="T19" fmla="*/ 162 h 179"/>
                <a:gd name="T20" fmla="*/ 386 w 415"/>
                <a:gd name="T21" fmla="*/ 108 h 179"/>
                <a:gd name="T22" fmla="*/ 394 w 415"/>
                <a:gd name="T23" fmla="*/ 12 h 179"/>
                <a:gd name="T24" fmla="*/ 300 w 415"/>
                <a:gd name="T25" fmla="*/ 4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5" h="179">
                  <a:moveTo>
                    <a:pt x="300" y="48"/>
                  </a:moveTo>
                  <a:cubicBezTo>
                    <a:pt x="284" y="56"/>
                    <a:pt x="268" y="63"/>
                    <a:pt x="251" y="66"/>
                  </a:cubicBezTo>
                  <a:cubicBezTo>
                    <a:pt x="233" y="69"/>
                    <a:pt x="216" y="67"/>
                    <a:pt x="198" y="64"/>
                  </a:cubicBezTo>
                  <a:cubicBezTo>
                    <a:pt x="160" y="59"/>
                    <a:pt x="123" y="50"/>
                    <a:pt x="86" y="38"/>
                  </a:cubicBezTo>
                  <a:cubicBezTo>
                    <a:pt x="73" y="34"/>
                    <a:pt x="59" y="29"/>
                    <a:pt x="45" y="30"/>
                  </a:cubicBezTo>
                  <a:cubicBezTo>
                    <a:pt x="30" y="30"/>
                    <a:pt x="15" y="37"/>
                    <a:pt x="10" y="50"/>
                  </a:cubicBezTo>
                  <a:cubicBezTo>
                    <a:pt x="0" y="73"/>
                    <a:pt x="22" y="96"/>
                    <a:pt x="43" y="109"/>
                  </a:cubicBezTo>
                  <a:cubicBezTo>
                    <a:pt x="92" y="138"/>
                    <a:pt x="147" y="153"/>
                    <a:pt x="202" y="169"/>
                  </a:cubicBezTo>
                  <a:cubicBezTo>
                    <a:pt x="219" y="174"/>
                    <a:pt x="237" y="179"/>
                    <a:pt x="255" y="178"/>
                  </a:cubicBezTo>
                  <a:cubicBezTo>
                    <a:pt x="274" y="177"/>
                    <a:pt x="292" y="169"/>
                    <a:pt x="309" y="162"/>
                  </a:cubicBezTo>
                  <a:cubicBezTo>
                    <a:pt x="338" y="149"/>
                    <a:pt x="369" y="135"/>
                    <a:pt x="386" y="108"/>
                  </a:cubicBezTo>
                  <a:cubicBezTo>
                    <a:pt x="396" y="91"/>
                    <a:pt x="415" y="26"/>
                    <a:pt x="394" y="12"/>
                  </a:cubicBezTo>
                  <a:cubicBezTo>
                    <a:pt x="377" y="0"/>
                    <a:pt x="317" y="40"/>
                    <a:pt x="300" y="48"/>
                  </a:cubicBezTo>
                  <a:close/>
                </a:path>
              </a:pathLst>
            </a:custGeom>
            <a:solidFill>
              <a:srgbClr val="68A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işľiḑé">
              <a:extLst>
                <a:ext uri="{FF2B5EF4-FFF2-40B4-BE49-F238E27FC236}">
                  <a16:creationId xmlns:a16="http://schemas.microsoft.com/office/drawing/2014/main" id="{16187011-039E-4385-9126-65E5F3EB571E}"/>
                </a:ext>
              </a:extLst>
            </p:cNvPr>
            <p:cNvSpPr/>
            <p:nvPr/>
          </p:nvSpPr>
          <p:spPr bwMode="auto">
            <a:xfrm>
              <a:off x="6893168" y="2548564"/>
              <a:ext cx="363355" cy="265529"/>
            </a:xfrm>
            <a:custGeom>
              <a:avLst/>
              <a:gdLst>
                <a:gd name="T0" fmla="*/ 47 w 150"/>
                <a:gd name="T1" fmla="*/ 50 h 110"/>
                <a:gd name="T2" fmla="*/ 74 w 150"/>
                <a:gd name="T3" fmla="*/ 18 h 110"/>
                <a:gd name="T4" fmla="*/ 116 w 150"/>
                <a:gd name="T5" fmla="*/ 0 h 110"/>
                <a:gd name="T6" fmla="*/ 130 w 150"/>
                <a:gd name="T7" fmla="*/ 2 h 110"/>
                <a:gd name="T8" fmla="*/ 149 w 150"/>
                <a:gd name="T9" fmla="*/ 32 h 110"/>
                <a:gd name="T10" fmla="*/ 146 w 150"/>
                <a:gd name="T11" fmla="*/ 55 h 110"/>
                <a:gd name="T12" fmla="*/ 114 w 150"/>
                <a:gd name="T13" fmla="*/ 80 h 110"/>
                <a:gd name="T14" fmla="*/ 74 w 150"/>
                <a:gd name="T15" fmla="*/ 93 h 110"/>
                <a:gd name="T16" fmla="*/ 34 w 150"/>
                <a:gd name="T17" fmla="*/ 110 h 110"/>
                <a:gd name="T18" fmla="*/ 6 w 150"/>
                <a:gd name="T19" fmla="*/ 82 h 110"/>
                <a:gd name="T20" fmla="*/ 26 w 150"/>
                <a:gd name="T21" fmla="*/ 68 h 110"/>
                <a:gd name="T22" fmla="*/ 47 w 150"/>
                <a:gd name="T23" fmla="*/ 5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0" h="110">
                  <a:moveTo>
                    <a:pt x="47" y="50"/>
                  </a:moveTo>
                  <a:cubicBezTo>
                    <a:pt x="56" y="39"/>
                    <a:pt x="64" y="27"/>
                    <a:pt x="74" y="18"/>
                  </a:cubicBezTo>
                  <a:cubicBezTo>
                    <a:pt x="86" y="7"/>
                    <a:pt x="100" y="1"/>
                    <a:pt x="116" y="0"/>
                  </a:cubicBezTo>
                  <a:cubicBezTo>
                    <a:pt x="120" y="0"/>
                    <a:pt x="125" y="0"/>
                    <a:pt x="130" y="2"/>
                  </a:cubicBezTo>
                  <a:cubicBezTo>
                    <a:pt x="142" y="6"/>
                    <a:pt x="148" y="19"/>
                    <a:pt x="149" y="32"/>
                  </a:cubicBezTo>
                  <a:cubicBezTo>
                    <a:pt x="150" y="40"/>
                    <a:pt x="149" y="48"/>
                    <a:pt x="146" y="55"/>
                  </a:cubicBezTo>
                  <a:cubicBezTo>
                    <a:pt x="141" y="68"/>
                    <a:pt x="127" y="76"/>
                    <a:pt x="114" y="80"/>
                  </a:cubicBezTo>
                  <a:cubicBezTo>
                    <a:pt x="101" y="85"/>
                    <a:pt x="87" y="87"/>
                    <a:pt x="74" y="93"/>
                  </a:cubicBezTo>
                  <a:cubicBezTo>
                    <a:pt x="61" y="99"/>
                    <a:pt x="49" y="110"/>
                    <a:pt x="34" y="110"/>
                  </a:cubicBezTo>
                  <a:cubicBezTo>
                    <a:pt x="22" y="110"/>
                    <a:pt x="0" y="97"/>
                    <a:pt x="6" y="82"/>
                  </a:cubicBezTo>
                  <a:cubicBezTo>
                    <a:pt x="9" y="76"/>
                    <a:pt x="20" y="72"/>
                    <a:pt x="26" y="68"/>
                  </a:cubicBezTo>
                  <a:cubicBezTo>
                    <a:pt x="34" y="63"/>
                    <a:pt x="40" y="57"/>
                    <a:pt x="47" y="50"/>
                  </a:cubicBezTo>
                  <a:close/>
                </a:path>
              </a:pathLst>
            </a:custGeom>
            <a:solidFill>
              <a:srgbClr val="FFED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ïs1ïḓè">
              <a:extLst>
                <a:ext uri="{FF2B5EF4-FFF2-40B4-BE49-F238E27FC236}">
                  <a16:creationId xmlns:a16="http://schemas.microsoft.com/office/drawing/2014/main" id="{92117AA3-C493-4A0F-BC21-39C61CF4AC51}"/>
                </a:ext>
              </a:extLst>
            </p:cNvPr>
            <p:cNvSpPr/>
            <p:nvPr/>
          </p:nvSpPr>
          <p:spPr bwMode="auto">
            <a:xfrm>
              <a:off x="4652480" y="2541576"/>
              <a:ext cx="363355" cy="265529"/>
            </a:xfrm>
            <a:custGeom>
              <a:avLst/>
              <a:gdLst>
                <a:gd name="T0" fmla="*/ 103 w 150"/>
                <a:gd name="T1" fmla="*/ 50 h 110"/>
                <a:gd name="T2" fmla="*/ 76 w 150"/>
                <a:gd name="T3" fmla="*/ 18 h 110"/>
                <a:gd name="T4" fmla="*/ 34 w 150"/>
                <a:gd name="T5" fmla="*/ 1 h 110"/>
                <a:gd name="T6" fmla="*/ 20 w 150"/>
                <a:gd name="T7" fmla="*/ 2 h 110"/>
                <a:gd name="T8" fmla="*/ 1 w 150"/>
                <a:gd name="T9" fmla="*/ 32 h 110"/>
                <a:gd name="T10" fmla="*/ 4 w 150"/>
                <a:gd name="T11" fmla="*/ 56 h 110"/>
                <a:gd name="T12" fmla="*/ 36 w 150"/>
                <a:gd name="T13" fmla="*/ 81 h 110"/>
                <a:gd name="T14" fmla="*/ 76 w 150"/>
                <a:gd name="T15" fmla="*/ 93 h 110"/>
                <a:gd name="T16" fmla="*/ 116 w 150"/>
                <a:gd name="T17" fmla="*/ 110 h 110"/>
                <a:gd name="T18" fmla="*/ 144 w 150"/>
                <a:gd name="T19" fmla="*/ 82 h 110"/>
                <a:gd name="T20" fmla="*/ 124 w 150"/>
                <a:gd name="T21" fmla="*/ 69 h 110"/>
                <a:gd name="T22" fmla="*/ 103 w 150"/>
                <a:gd name="T23" fmla="*/ 5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0" h="110">
                  <a:moveTo>
                    <a:pt x="103" y="50"/>
                  </a:moveTo>
                  <a:cubicBezTo>
                    <a:pt x="94" y="40"/>
                    <a:pt x="86" y="27"/>
                    <a:pt x="76" y="18"/>
                  </a:cubicBezTo>
                  <a:cubicBezTo>
                    <a:pt x="64" y="8"/>
                    <a:pt x="50" y="2"/>
                    <a:pt x="34" y="1"/>
                  </a:cubicBezTo>
                  <a:cubicBezTo>
                    <a:pt x="30" y="0"/>
                    <a:pt x="25" y="1"/>
                    <a:pt x="20" y="2"/>
                  </a:cubicBezTo>
                  <a:cubicBezTo>
                    <a:pt x="8" y="6"/>
                    <a:pt x="2" y="20"/>
                    <a:pt x="1" y="32"/>
                  </a:cubicBezTo>
                  <a:cubicBezTo>
                    <a:pt x="0" y="40"/>
                    <a:pt x="1" y="48"/>
                    <a:pt x="4" y="56"/>
                  </a:cubicBezTo>
                  <a:cubicBezTo>
                    <a:pt x="9" y="68"/>
                    <a:pt x="23" y="76"/>
                    <a:pt x="36" y="81"/>
                  </a:cubicBezTo>
                  <a:cubicBezTo>
                    <a:pt x="49" y="85"/>
                    <a:pt x="63" y="87"/>
                    <a:pt x="76" y="93"/>
                  </a:cubicBezTo>
                  <a:cubicBezTo>
                    <a:pt x="89" y="99"/>
                    <a:pt x="101" y="110"/>
                    <a:pt x="116" y="110"/>
                  </a:cubicBezTo>
                  <a:cubicBezTo>
                    <a:pt x="128" y="110"/>
                    <a:pt x="150" y="97"/>
                    <a:pt x="144" y="82"/>
                  </a:cubicBezTo>
                  <a:cubicBezTo>
                    <a:pt x="141" y="76"/>
                    <a:pt x="130" y="72"/>
                    <a:pt x="124" y="69"/>
                  </a:cubicBezTo>
                  <a:cubicBezTo>
                    <a:pt x="116" y="63"/>
                    <a:pt x="109" y="57"/>
                    <a:pt x="103" y="50"/>
                  </a:cubicBezTo>
                  <a:close/>
                </a:path>
              </a:pathLst>
            </a:custGeom>
            <a:solidFill>
              <a:srgbClr val="FFED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ïṩļiḋè">
              <a:extLst>
                <a:ext uri="{FF2B5EF4-FFF2-40B4-BE49-F238E27FC236}">
                  <a16:creationId xmlns:a16="http://schemas.microsoft.com/office/drawing/2014/main" id="{C757609D-2F88-4173-A127-87C968FF7AC3}"/>
                </a:ext>
              </a:extLst>
            </p:cNvPr>
            <p:cNvSpPr/>
            <p:nvPr/>
          </p:nvSpPr>
          <p:spPr bwMode="auto">
            <a:xfrm>
              <a:off x="4331051" y="2613781"/>
              <a:ext cx="595110" cy="548526"/>
            </a:xfrm>
            <a:custGeom>
              <a:avLst/>
              <a:gdLst>
                <a:gd name="T0" fmla="*/ 245 w 246"/>
                <a:gd name="T1" fmla="*/ 174 h 227"/>
                <a:gd name="T2" fmla="*/ 244 w 246"/>
                <a:gd name="T3" fmla="*/ 178 h 227"/>
                <a:gd name="T4" fmla="*/ 196 w 246"/>
                <a:gd name="T5" fmla="*/ 183 h 227"/>
                <a:gd name="T6" fmla="*/ 167 w 246"/>
                <a:gd name="T7" fmla="*/ 130 h 227"/>
                <a:gd name="T8" fmla="*/ 168 w 246"/>
                <a:gd name="T9" fmla="*/ 120 h 227"/>
                <a:gd name="T10" fmla="*/ 168 w 246"/>
                <a:gd name="T11" fmla="*/ 117 h 227"/>
                <a:gd name="T12" fmla="*/ 168 w 246"/>
                <a:gd name="T13" fmla="*/ 119 h 227"/>
                <a:gd name="T14" fmla="*/ 162 w 246"/>
                <a:gd name="T15" fmla="*/ 146 h 227"/>
                <a:gd name="T16" fmla="*/ 149 w 246"/>
                <a:gd name="T17" fmla="*/ 193 h 227"/>
                <a:gd name="T18" fmla="*/ 113 w 246"/>
                <a:gd name="T19" fmla="*/ 225 h 227"/>
                <a:gd name="T20" fmla="*/ 88 w 246"/>
                <a:gd name="T21" fmla="*/ 218 h 227"/>
                <a:gd name="T22" fmla="*/ 85 w 246"/>
                <a:gd name="T23" fmla="*/ 210 h 227"/>
                <a:gd name="T24" fmla="*/ 98 w 246"/>
                <a:gd name="T25" fmla="*/ 171 h 227"/>
                <a:gd name="T26" fmla="*/ 117 w 246"/>
                <a:gd name="T27" fmla="*/ 103 h 227"/>
                <a:gd name="T28" fmla="*/ 98 w 246"/>
                <a:gd name="T29" fmla="*/ 121 h 227"/>
                <a:gd name="T30" fmla="*/ 23 w 246"/>
                <a:gd name="T31" fmla="*/ 122 h 227"/>
                <a:gd name="T32" fmla="*/ 4 w 246"/>
                <a:gd name="T33" fmla="*/ 99 h 227"/>
                <a:gd name="T34" fmla="*/ 9 w 246"/>
                <a:gd name="T35" fmla="*/ 71 h 227"/>
                <a:gd name="T36" fmla="*/ 36 w 246"/>
                <a:gd name="T37" fmla="*/ 68 h 227"/>
                <a:gd name="T38" fmla="*/ 45 w 246"/>
                <a:gd name="T39" fmla="*/ 79 h 227"/>
                <a:gd name="T40" fmla="*/ 78 w 246"/>
                <a:gd name="T41" fmla="*/ 82 h 227"/>
                <a:gd name="T42" fmla="*/ 102 w 246"/>
                <a:gd name="T43" fmla="*/ 56 h 227"/>
                <a:gd name="T44" fmla="*/ 118 w 246"/>
                <a:gd name="T45" fmla="*/ 32 h 227"/>
                <a:gd name="T46" fmla="*/ 137 w 246"/>
                <a:gd name="T47" fmla="*/ 24 h 227"/>
                <a:gd name="T48" fmla="*/ 156 w 246"/>
                <a:gd name="T49" fmla="*/ 30 h 227"/>
                <a:gd name="T50" fmla="*/ 174 w 246"/>
                <a:gd name="T51" fmla="*/ 1 h 227"/>
                <a:gd name="T52" fmla="*/ 187 w 246"/>
                <a:gd name="T53" fmla="*/ 13 h 227"/>
                <a:gd name="T54" fmla="*/ 179 w 246"/>
                <a:gd name="T55" fmla="*/ 31 h 227"/>
                <a:gd name="T56" fmla="*/ 203 w 246"/>
                <a:gd name="T57" fmla="*/ 74 h 227"/>
                <a:gd name="T58" fmla="*/ 203 w 246"/>
                <a:gd name="T59" fmla="*/ 125 h 227"/>
                <a:gd name="T60" fmla="*/ 241 w 246"/>
                <a:gd name="T61" fmla="*/ 170 h 227"/>
                <a:gd name="T62" fmla="*/ 245 w 246"/>
                <a:gd name="T63" fmla="*/ 173 h 227"/>
                <a:gd name="T64" fmla="*/ 245 w 246"/>
                <a:gd name="T65" fmla="*/ 174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6" h="227">
                  <a:moveTo>
                    <a:pt x="245" y="174"/>
                  </a:moveTo>
                  <a:cubicBezTo>
                    <a:pt x="246" y="176"/>
                    <a:pt x="245" y="177"/>
                    <a:pt x="244" y="178"/>
                  </a:cubicBezTo>
                  <a:cubicBezTo>
                    <a:pt x="235" y="194"/>
                    <a:pt x="211" y="193"/>
                    <a:pt x="196" y="183"/>
                  </a:cubicBezTo>
                  <a:cubicBezTo>
                    <a:pt x="178" y="171"/>
                    <a:pt x="167" y="151"/>
                    <a:pt x="167" y="130"/>
                  </a:cubicBezTo>
                  <a:cubicBezTo>
                    <a:pt x="167" y="126"/>
                    <a:pt x="167" y="123"/>
                    <a:pt x="168" y="120"/>
                  </a:cubicBezTo>
                  <a:cubicBezTo>
                    <a:pt x="168" y="119"/>
                    <a:pt x="168" y="118"/>
                    <a:pt x="168" y="117"/>
                  </a:cubicBezTo>
                  <a:cubicBezTo>
                    <a:pt x="168" y="119"/>
                    <a:pt x="168" y="119"/>
                    <a:pt x="168" y="119"/>
                  </a:cubicBezTo>
                  <a:cubicBezTo>
                    <a:pt x="166" y="128"/>
                    <a:pt x="164" y="137"/>
                    <a:pt x="162" y="146"/>
                  </a:cubicBezTo>
                  <a:cubicBezTo>
                    <a:pt x="159" y="162"/>
                    <a:pt x="156" y="178"/>
                    <a:pt x="149" y="193"/>
                  </a:cubicBezTo>
                  <a:cubicBezTo>
                    <a:pt x="141" y="208"/>
                    <a:pt x="129" y="221"/>
                    <a:pt x="113" y="225"/>
                  </a:cubicBezTo>
                  <a:cubicBezTo>
                    <a:pt x="104" y="227"/>
                    <a:pt x="94" y="225"/>
                    <a:pt x="88" y="218"/>
                  </a:cubicBezTo>
                  <a:cubicBezTo>
                    <a:pt x="87" y="216"/>
                    <a:pt x="85" y="213"/>
                    <a:pt x="85" y="210"/>
                  </a:cubicBezTo>
                  <a:cubicBezTo>
                    <a:pt x="83" y="196"/>
                    <a:pt x="91" y="183"/>
                    <a:pt x="98" y="171"/>
                  </a:cubicBezTo>
                  <a:cubicBezTo>
                    <a:pt x="109" y="150"/>
                    <a:pt x="116" y="127"/>
                    <a:pt x="117" y="103"/>
                  </a:cubicBezTo>
                  <a:cubicBezTo>
                    <a:pt x="112" y="110"/>
                    <a:pt x="106" y="117"/>
                    <a:pt x="98" y="121"/>
                  </a:cubicBezTo>
                  <a:cubicBezTo>
                    <a:pt x="76" y="135"/>
                    <a:pt x="45" y="137"/>
                    <a:pt x="23" y="122"/>
                  </a:cubicBezTo>
                  <a:cubicBezTo>
                    <a:pt x="14" y="117"/>
                    <a:pt x="7" y="109"/>
                    <a:pt x="4" y="99"/>
                  </a:cubicBezTo>
                  <a:cubicBezTo>
                    <a:pt x="0" y="90"/>
                    <a:pt x="2" y="79"/>
                    <a:pt x="9" y="71"/>
                  </a:cubicBezTo>
                  <a:cubicBezTo>
                    <a:pt x="16" y="64"/>
                    <a:pt x="27" y="62"/>
                    <a:pt x="36" y="68"/>
                  </a:cubicBezTo>
                  <a:cubicBezTo>
                    <a:pt x="39" y="71"/>
                    <a:pt x="41" y="75"/>
                    <a:pt x="45" y="79"/>
                  </a:cubicBezTo>
                  <a:cubicBezTo>
                    <a:pt x="53" y="87"/>
                    <a:pt x="67" y="87"/>
                    <a:pt x="78" y="82"/>
                  </a:cubicBezTo>
                  <a:cubicBezTo>
                    <a:pt x="88" y="76"/>
                    <a:pt x="97" y="67"/>
                    <a:pt x="102" y="56"/>
                  </a:cubicBezTo>
                  <a:cubicBezTo>
                    <a:pt x="107" y="48"/>
                    <a:pt x="111" y="39"/>
                    <a:pt x="118" y="32"/>
                  </a:cubicBezTo>
                  <a:cubicBezTo>
                    <a:pt x="123" y="27"/>
                    <a:pt x="130" y="24"/>
                    <a:pt x="137" y="24"/>
                  </a:cubicBezTo>
                  <a:cubicBezTo>
                    <a:pt x="143" y="24"/>
                    <a:pt x="150" y="32"/>
                    <a:pt x="156" y="30"/>
                  </a:cubicBezTo>
                  <a:cubicBezTo>
                    <a:pt x="168" y="27"/>
                    <a:pt x="162" y="5"/>
                    <a:pt x="174" y="1"/>
                  </a:cubicBezTo>
                  <a:cubicBezTo>
                    <a:pt x="180" y="0"/>
                    <a:pt x="186" y="7"/>
                    <a:pt x="187" y="13"/>
                  </a:cubicBezTo>
                  <a:cubicBezTo>
                    <a:pt x="187" y="20"/>
                    <a:pt x="183" y="26"/>
                    <a:pt x="179" y="31"/>
                  </a:cubicBezTo>
                  <a:cubicBezTo>
                    <a:pt x="195" y="38"/>
                    <a:pt x="202" y="57"/>
                    <a:pt x="203" y="74"/>
                  </a:cubicBezTo>
                  <a:cubicBezTo>
                    <a:pt x="203" y="91"/>
                    <a:pt x="199" y="108"/>
                    <a:pt x="203" y="125"/>
                  </a:cubicBezTo>
                  <a:cubicBezTo>
                    <a:pt x="207" y="146"/>
                    <a:pt x="221" y="163"/>
                    <a:pt x="241" y="170"/>
                  </a:cubicBezTo>
                  <a:cubicBezTo>
                    <a:pt x="242" y="171"/>
                    <a:pt x="243" y="172"/>
                    <a:pt x="245" y="173"/>
                  </a:cubicBezTo>
                  <a:cubicBezTo>
                    <a:pt x="245" y="173"/>
                    <a:pt x="245" y="174"/>
                    <a:pt x="245" y="174"/>
                  </a:cubicBezTo>
                  <a:close/>
                </a:path>
              </a:pathLst>
            </a:custGeom>
            <a:solidFill>
              <a:srgbClr val="F9D0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îṥlídè">
              <a:extLst>
                <a:ext uri="{FF2B5EF4-FFF2-40B4-BE49-F238E27FC236}">
                  <a16:creationId xmlns:a16="http://schemas.microsoft.com/office/drawing/2014/main" id="{68F55DF2-F750-4214-B079-28728B3348AD}"/>
                </a:ext>
              </a:extLst>
            </p:cNvPr>
            <p:cNvSpPr/>
            <p:nvPr/>
          </p:nvSpPr>
          <p:spPr bwMode="auto">
            <a:xfrm>
              <a:off x="4331051" y="2669682"/>
              <a:ext cx="331911" cy="274845"/>
            </a:xfrm>
            <a:custGeom>
              <a:avLst/>
              <a:gdLst>
                <a:gd name="T0" fmla="*/ 137 w 137"/>
                <a:gd name="T1" fmla="*/ 0 h 114"/>
                <a:gd name="T2" fmla="*/ 117 w 137"/>
                <a:gd name="T3" fmla="*/ 80 h 114"/>
                <a:gd name="T4" fmla="*/ 98 w 137"/>
                <a:gd name="T5" fmla="*/ 98 h 114"/>
                <a:gd name="T6" fmla="*/ 22 w 137"/>
                <a:gd name="T7" fmla="*/ 99 h 114"/>
                <a:gd name="T8" fmla="*/ 3 w 137"/>
                <a:gd name="T9" fmla="*/ 76 h 114"/>
                <a:gd name="T10" fmla="*/ 8 w 137"/>
                <a:gd name="T11" fmla="*/ 48 h 114"/>
                <a:gd name="T12" fmla="*/ 35 w 137"/>
                <a:gd name="T13" fmla="*/ 45 h 114"/>
                <a:gd name="T14" fmla="*/ 44 w 137"/>
                <a:gd name="T15" fmla="*/ 55 h 114"/>
                <a:gd name="T16" fmla="*/ 78 w 137"/>
                <a:gd name="T17" fmla="*/ 59 h 114"/>
                <a:gd name="T18" fmla="*/ 102 w 137"/>
                <a:gd name="T19" fmla="*/ 33 h 114"/>
                <a:gd name="T20" fmla="*/ 117 w 137"/>
                <a:gd name="T21" fmla="*/ 9 h 114"/>
                <a:gd name="T22" fmla="*/ 137 w 137"/>
                <a:gd name="T2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7" h="114">
                  <a:moveTo>
                    <a:pt x="137" y="0"/>
                  </a:moveTo>
                  <a:cubicBezTo>
                    <a:pt x="118" y="2"/>
                    <a:pt x="117" y="80"/>
                    <a:pt x="117" y="80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75" y="112"/>
                    <a:pt x="45" y="114"/>
                    <a:pt x="22" y="99"/>
                  </a:cubicBezTo>
                  <a:cubicBezTo>
                    <a:pt x="14" y="94"/>
                    <a:pt x="7" y="86"/>
                    <a:pt x="3" y="76"/>
                  </a:cubicBezTo>
                  <a:cubicBezTo>
                    <a:pt x="0" y="67"/>
                    <a:pt x="2" y="56"/>
                    <a:pt x="8" y="48"/>
                  </a:cubicBezTo>
                  <a:cubicBezTo>
                    <a:pt x="15" y="41"/>
                    <a:pt x="27" y="39"/>
                    <a:pt x="35" y="45"/>
                  </a:cubicBezTo>
                  <a:cubicBezTo>
                    <a:pt x="39" y="48"/>
                    <a:pt x="41" y="52"/>
                    <a:pt x="44" y="55"/>
                  </a:cubicBezTo>
                  <a:cubicBezTo>
                    <a:pt x="53" y="64"/>
                    <a:pt x="67" y="64"/>
                    <a:pt x="78" y="59"/>
                  </a:cubicBezTo>
                  <a:cubicBezTo>
                    <a:pt x="88" y="53"/>
                    <a:pt x="96" y="44"/>
                    <a:pt x="102" y="33"/>
                  </a:cubicBezTo>
                  <a:cubicBezTo>
                    <a:pt x="106" y="25"/>
                    <a:pt x="111" y="16"/>
                    <a:pt x="117" y="9"/>
                  </a:cubicBezTo>
                  <a:cubicBezTo>
                    <a:pt x="122" y="4"/>
                    <a:pt x="129" y="0"/>
                    <a:pt x="137" y="0"/>
                  </a:cubicBezTo>
                  <a:close/>
                </a:path>
              </a:pathLst>
            </a:custGeom>
            <a:solidFill>
              <a:srgbClr val="F5C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ïŝḻïḍê">
              <a:extLst>
                <a:ext uri="{FF2B5EF4-FFF2-40B4-BE49-F238E27FC236}">
                  <a16:creationId xmlns:a16="http://schemas.microsoft.com/office/drawing/2014/main" id="{A0118ED5-2FA0-4C18-A3A3-33FA94E6DED7}"/>
                </a:ext>
              </a:extLst>
            </p:cNvPr>
            <p:cNvSpPr/>
            <p:nvPr/>
          </p:nvSpPr>
          <p:spPr bwMode="auto">
            <a:xfrm>
              <a:off x="4735166" y="2768673"/>
              <a:ext cx="190994" cy="313277"/>
            </a:xfrm>
            <a:custGeom>
              <a:avLst/>
              <a:gdLst>
                <a:gd name="T0" fmla="*/ 78 w 79"/>
                <a:gd name="T1" fmla="*/ 110 h 130"/>
                <a:gd name="T2" fmla="*/ 77 w 79"/>
                <a:gd name="T3" fmla="*/ 114 h 130"/>
                <a:gd name="T4" fmla="*/ 29 w 79"/>
                <a:gd name="T5" fmla="*/ 119 h 130"/>
                <a:gd name="T6" fmla="*/ 0 w 79"/>
                <a:gd name="T7" fmla="*/ 66 h 130"/>
                <a:gd name="T8" fmla="*/ 0 w 79"/>
                <a:gd name="T9" fmla="*/ 64 h 130"/>
                <a:gd name="T10" fmla="*/ 0 w 79"/>
                <a:gd name="T11" fmla="*/ 56 h 130"/>
                <a:gd name="T12" fmla="*/ 0 w 79"/>
                <a:gd name="T13" fmla="*/ 55 h 130"/>
                <a:gd name="T14" fmla="*/ 5 w 79"/>
                <a:gd name="T15" fmla="*/ 21 h 130"/>
                <a:gd name="T16" fmla="*/ 9 w 79"/>
                <a:gd name="T17" fmla="*/ 10 h 130"/>
                <a:gd name="T18" fmla="*/ 15 w 79"/>
                <a:gd name="T19" fmla="*/ 0 h 130"/>
                <a:gd name="T20" fmla="*/ 19 w 79"/>
                <a:gd name="T21" fmla="*/ 49 h 130"/>
                <a:gd name="T22" fmla="*/ 22 w 79"/>
                <a:gd name="T23" fmla="*/ 68 h 130"/>
                <a:gd name="T24" fmla="*/ 39 w 79"/>
                <a:gd name="T25" fmla="*/ 97 h 130"/>
                <a:gd name="T26" fmla="*/ 53 w 79"/>
                <a:gd name="T27" fmla="*/ 105 h 130"/>
                <a:gd name="T28" fmla="*/ 75 w 79"/>
                <a:gd name="T29" fmla="*/ 108 h 130"/>
                <a:gd name="T30" fmla="*/ 78 w 79"/>
                <a:gd name="T31" fmla="*/ 109 h 130"/>
                <a:gd name="T32" fmla="*/ 78 w 79"/>
                <a:gd name="T33" fmla="*/ 11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9" h="130">
                  <a:moveTo>
                    <a:pt x="78" y="110"/>
                  </a:moveTo>
                  <a:cubicBezTo>
                    <a:pt x="79" y="112"/>
                    <a:pt x="78" y="113"/>
                    <a:pt x="77" y="114"/>
                  </a:cubicBezTo>
                  <a:cubicBezTo>
                    <a:pt x="68" y="130"/>
                    <a:pt x="44" y="129"/>
                    <a:pt x="29" y="119"/>
                  </a:cubicBezTo>
                  <a:cubicBezTo>
                    <a:pt x="11" y="107"/>
                    <a:pt x="0" y="87"/>
                    <a:pt x="0" y="66"/>
                  </a:cubicBezTo>
                  <a:cubicBezTo>
                    <a:pt x="0" y="65"/>
                    <a:pt x="0" y="64"/>
                    <a:pt x="0" y="64"/>
                  </a:cubicBezTo>
                  <a:cubicBezTo>
                    <a:pt x="0" y="61"/>
                    <a:pt x="0" y="58"/>
                    <a:pt x="0" y="56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1" y="44"/>
                    <a:pt x="2" y="32"/>
                    <a:pt x="5" y="21"/>
                  </a:cubicBezTo>
                  <a:cubicBezTo>
                    <a:pt x="6" y="17"/>
                    <a:pt x="7" y="14"/>
                    <a:pt x="9" y="10"/>
                  </a:cubicBezTo>
                  <a:cubicBezTo>
                    <a:pt x="10" y="8"/>
                    <a:pt x="15" y="2"/>
                    <a:pt x="15" y="0"/>
                  </a:cubicBezTo>
                  <a:cubicBezTo>
                    <a:pt x="16" y="16"/>
                    <a:pt x="17" y="33"/>
                    <a:pt x="19" y="49"/>
                  </a:cubicBezTo>
                  <a:cubicBezTo>
                    <a:pt x="20" y="56"/>
                    <a:pt x="21" y="62"/>
                    <a:pt x="22" y="68"/>
                  </a:cubicBezTo>
                  <a:cubicBezTo>
                    <a:pt x="24" y="80"/>
                    <a:pt x="30" y="90"/>
                    <a:pt x="39" y="97"/>
                  </a:cubicBezTo>
                  <a:cubicBezTo>
                    <a:pt x="43" y="100"/>
                    <a:pt x="48" y="103"/>
                    <a:pt x="53" y="105"/>
                  </a:cubicBezTo>
                  <a:cubicBezTo>
                    <a:pt x="60" y="107"/>
                    <a:pt x="68" y="107"/>
                    <a:pt x="75" y="108"/>
                  </a:cubicBezTo>
                  <a:cubicBezTo>
                    <a:pt x="76" y="108"/>
                    <a:pt x="77" y="108"/>
                    <a:pt x="78" y="109"/>
                  </a:cubicBezTo>
                  <a:cubicBezTo>
                    <a:pt x="78" y="109"/>
                    <a:pt x="78" y="110"/>
                    <a:pt x="78" y="110"/>
                  </a:cubicBezTo>
                  <a:close/>
                </a:path>
              </a:pathLst>
            </a:custGeom>
            <a:solidFill>
              <a:srgbClr val="F5C2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işḷíďe">
              <a:extLst>
                <a:ext uri="{FF2B5EF4-FFF2-40B4-BE49-F238E27FC236}">
                  <a16:creationId xmlns:a16="http://schemas.microsoft.com/office/drawing/2014/main" id="{B12097D8-62E7-48AB-84AC-597394A2978F}"/>
                </a:ext>
              </a:extLst>
            </p:cNvPr>
            <p:cNvSpPr/>
            <p:nvPr/>
          </p:nvSpPr>
          <p:spPr bwMode="auto">
            <a:xfrm>
              <a:off x="7022438" y="2220147"/>
              <a:ext cx="519411" cy="731368"/>
            </a:xfrm>
            <a:custGeom>
              <a:avLst/>
              <a:gdLst>
                <a:gd name="T0" fmla="*/ 186 w 215"/>
                <a:gd name="T1" fmla="*/ 281 h 303"/>
                <a:gd name="T2" fmla="*/ 165 w 215"/>
                <a:gd name="T3" fmla="*/ 292 h 303"/>
                <a:gd name="T4" fmla="*/ 108 w 215"/>
                <a:gd name="T5" fmla="*/ 274 h 303"/>
                <a:gd name="T6" fmla="*/ 44 w 215"/>
                <a:gd name="T7" fmla="*/ 154 h 303"/>
                <a:gd name="T8" fmla="*/ 44 w 215"/>
                <a:gd name="T9" fmla="*/ 149 h 303"/>
                <a:gd name="T10" fmla="*/ 48 w 215"/>
                <a:gd name="T11" fmla="*/ 141 h 303"/>
                <a:gd name="T12" fmla="*/ 45 w 215"/>
                <a:gd name="T13" fmla="*/ 133 h 303"/>
                <a:gd name="T14" fmla="*/ 42 w 215"/>
                <a:gd name="T15" fmla="*/ 133 h 303"/>
                <a:gd name="T16" fmla="*/ 37 w 215"/>
                <a:gd name="T17" fmla="*/ 133 h 303"/>
                <a:gd name="T18" fmla="*/ 32 w 215"/>
                <a:gd name="T19" fmla="*/ 130 h 303"/>
                <a:gd name="T20" fmla="*/ 4 w 215"/>
                <a:gd name="T21" fmla="*/ 79 h 303"/>
                <a:gd name="T22" fmla="*/ 4 w 215"/>
                <a:gd name="T23" fmla="*/ 74 h 303"/>
                <a:gd name="T24" fmla="*/ 16 w 215"/>
                <a:gd name="T25" fmla="*/ 45 h 303"/>
                <a:gd name="T26" fmla="*/ 16 w 215"/>
                <a:gd name="T27" fmla="*/ 44 h 303"/>
                <a:gd name="T28" fmla="*/ 0 w 215"/>
                <a:gd name="T29" fmla="*/ 18 h 303"/>
                <a:gd name="T30" fmla="*/ 29 w 215"/>
                <a:gd name="T31" fmla="*/ 0 h 303"/>
                <a:gd name="T32" fmla="*/ 47 w 215"/>
                <a:gd name="T33" fmla="*/ 29 h 303"/>
                <a:gd name="T34" fmla="*/ 84 w 215"/>
                <a:gd name="T35" fmla="*/ 32 h 303"/>
                <a:gd name="T36" fmla="*/ 88 w 215"/>
                <a:gd name="T37" fmla="*/ 35 h 303"/>
                <a:gd name="T38" fmla="*/ 121 w 215"/>
                <a:gd name="T39" fmla="*/ 95 h 303"/>
                <a:gd name="T40" fmla="*/ 122 w 215"/>
                <a:gd name="T41" fmla="*/ 98 h 303"/>
                <a:gd name="T42" fmla="*/ 120 w 215"/>
                <a:gd name="T43" fmla="*/ 102 h 303"/>
                <a:gd name="T44" fmla="*/ 122 w 215"/>
                <a:gd name="T45" fmla="*/ 110 h 303"/>
                <a:gd name="T46" fmla="*/ 124 w 215"/>
                <a:gd name="T47" fmla="*/ 111 h 303"/>
                <a:gd name="T48" fmla="*/ 139 w 215"/>
                <a:gd name="T49" fmla="*/ 115 h 303"/>
                <a:gd name="T50" fmla="*/ 143 w 215"/>
                <a:gd name="T51" fmla="*/ 118 h 303"/>
                <a:gd name="T52" fmla="*/ 203 w 215"/>
                <a:gd name="T53" fmla="*/ 223 h 303"/>
                <a:gd name="T54" fmla="*/ 187 w 215"/>
                <a:gd name="T55" fmla="*/ 280 h 303"/>
                <a:gd name="T56" fmla="*/ 186 w 215"/>
                <a:gd name="T57" fmla="*/ 281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5" h="303">
                  <a:moveTo>
                    <a:pt x="186" y="281"/>
                  </a:moveTo>
                  <a:cubicBezTo>
                    <a:pt x="165" y="292"/>
                    <a:pt x="165" y="292"/>
                    <a:pt x="165" y="292"/>
                  </a:cubicBezTo>
                  <a:cubicBezTo>
                    <a:pt x="144" y="303"/>
                    <a:pt x="119" y="295"/>
                    <a:pt x="108" y="274"/>
                  </a:cubicBezTo>
                  <a:cubicBezTo>
                    <a:pt x="44" y="154"/>
                    <a:pt x="44" y="154"/>
                    <a:pt x="44" y="154"/>
                  </a:cubicBezTo>
                  <a:cubicBezTo>
                    <a:pt x="43" y="153"/>
                    <a:pt x="43" y="151"/>
                    <a:pt x="44" y="149"/>
                  </a:cubicBezTo>
                  <a:cubicBezTo>
                    <a:pt x="48" y="141"/>
                    <a:pt x="48" y="141"/>
                    <a:pt x="48" y="141"/>
                  </a:cubicBezTo>
                  <a:cubicBezTo>
                    <a:pt x="49" y="138"/>
                    <a:pt x="48" y="135"/>
                    <a:pt x="45" y="133"/>
                  </a:cubicBezTo>
                  <a:cubicBezTo>
                    <a:pt x="44" y="133"/>
                    <a:pt x="43" y="133"/>
                    <a:pt x="42" y="133"/>
                  </a:cubicBezTo>
                  <a:cubicBezTo>
                    <a:pt x="37" y="133"/>
                    <a:pt x="37" y="133"/>
                    <a:pt x="37" y="133"/>
                  </a:cubicBezTo>
                  <a:cubicBezTo>
                    <a:pt x="35" y="133"/>
                    <a:pt x="33" y="132"/>
                    <a:pt x="32" y="130"/>
                  </a:cubicBezTo>
                  <a:cubicBezTo>
                    <a:pt x="4" y="79"/>
                    <a:pt x="4" y="79"/>
                    <a:pt x="4" y="79"/>
                  </a:cubicBezTo>
                  <a:cubicBezTo>
                    <a:pt x="3" y="77"/>
                    <a:pt x="3" y="76"/>
                    <a:pt x="4" y="74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6" y="45"/>
                    <a:pt x="16" y="4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6" y="32"/>
                    <a:pt x="87" y="33"/>
                    <a:pt x="88" y="35"/>
                  </a:cubicBezTo>
                  <a:cubicBezTo>
                    <a:pt x="121" y="95"/>
                    <a:pt x="121" y="95"/>
                    <a:pt x="121" y="95"/>
                  </a:cubicBezTo>
                  <a:cubicBezTo>
                    <a:pt x="121" y="96"/>
                    <a:pt x="122" y="97"/>
                    <a:pt x="122" y="98"/>
                  </a:cubicBezTo>
                  <a:cubicBezTo>
                    <a:pt x="122" y="99"/>
                    <a:pt x="121" y="101"/>
                    <a:pt x="120" y="102"/>
                  </a:cubicBezTo>
                  <a:cubicBezTo>
                    <a:pt x="119" y="104"/>
                    <a:pt x="119" y="108"/>
                    <a:pt x="122" y="110"/>
                  </a:cubicBezTo>
                  <a:cubicBezTo>
                    <a:pt x="122" y="111"/>
                    <a:pt x="123" y="111"/>
                    <a:pt x="124" y="111"/>
                  </a:cubicBezTo>
                  <a:cubicBezTo>
                    <a:pt x="139" y="115"/>
                    <a:pt x="139" y="115"/>
                    <a:pt x="139" y="115"/>
                  </a:cubicBezTo>
                  <a:cubicBezTo>
                    <a:pt x="141" y="116"/>
                    <a:pt x="142" y="117"/>
                    <a:pt x="143" y="118"/>
                  </a:cubicBezTo>
                  <a:cubicBezTo>
                    <a:pt x="203" y="223"/>
                    <a:pt x="203" y="223"/>
                    <a:pt x="203" y="223"/>
                  </a:cubicBezTo>
                  <a:cubicBezTo>
                    <a:pt x="215" y="243"/>
                    <a:pt x="208" y="269"/>
                    <a:pt x="187" y="280"/>
                  </a:cubicBezTo>
                  <a:cubicBezTo>
                    <a:pt x="187" y="281"/>
                    <a:pt x="186" y="281"/>
                    <a:pt x="186" y="281"/>
                  </a:cubicBez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íSlíḍé">
              <a:extLst>
                <a:ext uri="{FF2B5EF4-FFF2-40B4-BE49-F238E27FC236}">
                  <a16:creationId xmlns:a16="http://schemas.microsoft.com/office/drawing/2014/main" id="{6144E4D4-95C1-43B8-BA54-18F38566029B}"/>
                </a:ext>
              </a:extLst>
            </p:cNvPr>
            <p:cNvSpPr/>
            <p:nvPr/>
          </p:nvSpPr>
          <p:spPr bwMode="auto">
            <a:xfrm>
              <a:off x="7041072" y="2202678"/>
              <a:ext cx="520576" cy="732533"/>
            </a:xfrm>
            <a:custGeom>
              <a:avLst/>
              <a:gdLst>
                <a:gd name="T0" fmla="*/ 186 w 215"/>
                <a:gd name="T1" fmla="*/ 282 h 303"/>
                <a:gd name="T2" fmla="*/ 165 w 215"/>
                <a:gd name="T3" fmla="*/ 292 h 303"/>
                <a:gd name="T4" fmla="*/ 108 w 215"/>
                <a:gd name="T5" fmla="*/ 274 h 303"/>
                <a:gd name="T6" fmla="*/ 44 w 215"/>
                <a:gd name="T7" fmla="*/ 154 h 303"/>
                <a:gd name="T8" fmla="*/ 44 w 215"/>
                <a:gd name="T9" fmla="*/ 149 h 303"/>
                <a:gd name="T10" fmla="*/ 48 w 215"/>
                <a:gd name="T11" fmla="*/ 141 h 303"/>
                <a:gd name="T12" fmla="*/ 45 w 215"/>
                <a:gd name="T13" fmla="*/ 133 h 303"/>
                <a:gd name="T14" fmla="*/ 42 w 215"/>
                <a:gd name="T15" fmla="*/ 133 h 303"/>
                <a:gd name="T16" fmla="*/ 37 w 215"/>
                <a:gd name="T17" fmla="*/ 133 h 303"/>
                <a:gd name="T18" fmla="*/ 32 w 215"/>
                <a:gd name="T19" fmla="*/ 130 h 303"/>
                <a:gd name="T20" fmla="*/ 4 w 215"/>
                <a:gd name="T21" fmla="*/ 79 h 303"/>
                <a:gd name="T22" fmla="*/ 4 w 215"/>
                <a:gd name="T23" fmla="*/ 74 h 303"/>
                <a:gd name="T24" fmla="*/ 16 w 215"/>
                <a:gd name="T25" fmla="*/ 45 h 303"/>
                <a:gd name="T26" fmla="*/ 16 w 215"/>
                <a:gd name="T27" fmla="*/ 45 h 303"/>
                <a:gd name="T28" fmla="*/ 0 w 215"/>
                <a:gd name="T29" fmla="*/ 19 h 303"/>
                <a:gd name="T30" fmla="*/ 29 w 215"/>
                <a:gd name="T31" fmla="*/ 0 h 303"/>
                <a:gd name="T32" fmla="*/ 47 w 215"/>
                <a:gd name="T33" fmla="*/ 29 h 303"/>
                <a:gd name="T34" fmla="*/ 84 w 215"/>
                <a:gd name="T35" fmla="*/ 32 h 303"/>
                <a:gd name="T36" fmla="*/ 88 w 215"/>
                <a:gd name="T37" fmla="*/ 35 h 303"/>
                <a:gd name="T38" fmla="*/ 121 w 215"/>
                <a:gd name="T39" fmla="*/ 96 h 303"/>
                <a:gd name="T40" fmla="*/ 120 w 215"/>
                <a:gd name="T41" fmla="*/ 102 h 303"/>
                <a:gd name="T42" fmla="*/ 122 w 215"/>
                <a:gd name="T43" fmla="*/ 110 h 303"/>
                <a:gd name="T44" fmla="*/ 124 w 215"/>
                <a:gd name="T45" fmla="*/ 111 h 303"/>
                <a:gd name="T46" fmla="*/ 139 w 215"/>
                <a:gd name="T47" fmla="*/ 115 h 303"/>
                <a:gd name="T48" fmla="*/ 143 w 215"/>
                <a:gd name="T49" fmla="*/ 118 h 303"/>
                <a:gd name="T50" fmla="*/ 203 w 215"/>
                <a:gd name="T51" fmla="*/ 223 h 303"/>
                <a:gd name="T52" fmla="*/ 187 w 215"/>
                <a:gd name="T53" fmla="*/ 281 h 303"/>
                <a:gd name="T54" fmla="*/ 186 w 215"/>
                <a:gd name="T55" fmla="*/ 282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15" h="303">
                  <a:moveTo>
                    <a:pt x="186" y="282"/>
                  </a:moveTo>
                  <a:cubicBezTo>
                    <a:pt x="165" y="292"/>
                    <a:pt x="165" y="292"/>
                    <a:pt x="165" y="292"/>
                  </a:cubicBezTo>
                  <a:cubicBezTo>
                    <a:pt x="144" y="303"/>
                    <a:pt x="119" y="295"/>
                    <a:pt x="108" y="274"/>
                  </a:cubicBezTo>
                  <a:cubicBezTo>
                    <a:pt x="44" y="154"/>
                    <a:pt x="44" y="154"/>
                    <a:pt x="44" y="154"/>
                  </a:cubicBezTo>
                  <a:cubicBezTo>
                    <a:pt x="44" y="153"/>
                    <a:pt x="44" y="151"/>
                    <a:pt x="44" y="149"/>
                  </a:cubicBezTo>
                  <a:cubicBezTo>
                    <a:pt x="48" y="141"/>
                    <a:pt x="48" y="141"/>
                    <a:pt x="48" y="141"/>
                  </a:cubicBezTo>
                  <a:cubicBezTo>
                    <a:pt x="49" y="138"/>
                    <a:pt x="48" y="135"/>
                    <a:pt x="45" y="133"/>
                  </a:cubicBezTo>
                  <a:cubicBezTo>
                    <a:pt x="44" y="133"/>
                    <a:pt x="43" y="133"/>
                    <a:pt x="42" y="133"/>
                  </a:cubicBezTo>
                  <a:cubicBezTo>
                    <a:pt x="37" y="133"/>
                    <a:pt x="37" y="133"/>
                    <a:pt x="37" y="133"/>
                  </a:cubicBezTo>
                  <a:cubicBezTo>
                    <a:pt x="35" y="133"/>
                    <a:pt x="33" y="132"/>
                    <a:pt x="32" y="130"/>
                  </a:cubicBezTo>
                  <a:cubicBezTo>
                    <a:pt x="4" y="79"/>
                    <a:pt x="4" y="79"/>
                    <a:pt x="4" y="79"/>
                  </a:cubicBezTo>
                  <a:cubicBezTo>
                    <a:pt x="3" y="78"/>
                    <a:pt x="3" y="76"/>
                    <a:pt x="4" y="74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6" y="32"/>
                    <a:pt x="87" y="33"/>
                    <a:pt x="88" y="35"/>
                  </a:cubicBezTo>
                  <a:cubicBezTo>
                    <a:pt x="121" y="96"/>
                    <a:pt x="121" y="96"/>
                    <a:pt x="121" y="96"/>
                  </a:cubicBezTo>
                  <a:cubicBezTo>
                    <a:pt x="122" y="98"/>
                    <a:pt x="122" y="100"/>
                    <a:pt x="120" y="102"/>
                  </a:cubicBezTo>
                  <a:cubicBezTo>
                    <a:pt x="118" y="105"/>
                    <a:pt x="119" y="108"/>
                    <a:pt x="122" y="110"/>
                  </a:cubicBezTo>
                  <a:cubicBezTo>
                    <a:pt x="122" y="111"/>
                    <a:pt x="123" y="111"/>
                    <a:pt x="124" y="111"/>
                  </a:cubicBezTo>
                  <a:cubicBezTo>
                    <a:pt x="139" y="115"/>
                    <a:pt x="139" y="115"/>
                    <a:pt x="139" y="115"/>
                  </a:cubicBezTo>
                  <a:cubicBezTo>
                    <a:pt x="141" y="116"/>
                    <a:pt x="142" y="117"/>
                    <a:pt x="143" y="118"/>
                  </a:cubicBezTo>
                  <a:cubicBezTo>
                    <a:pt x="203" y="223"/>
                    <a:pt x="203" y="223"/>
                    <a:pt x="203" y="223"/>
                  </a:cubicBezTo>
                  <a:cubicBezTo>
                    <a:pt x="215" y="243"/>
                    <a:pt x="208" y="269"/>
                    <a:pt x="187" y="281"/>
                  </a:cubicBezTo>
                  <a:cubicBezTo>
                    <a:pt x="187" y="281"/>
                    <a:pt x="186" y="281"/>
                    <a:pt x="186" y="282"/>
                  </a:cubicBez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iŝḻiḓê">
              <a:extLst>
                <a:ext uri="{FF2B5EF4-FFF2-40B4-BE49-F238E27FC236}">
                  <a16:creationId xmlns:a16="http://schemas.microsoft.com/office/drawing/2014/main" id="{83A6FB77-CDA2-4E1F-B810-61E14CF06ED2}"/>
                </a:ext>
              </a:extLst>
            </p:cNvPr>
            <p:cNvSpPr/>
            <p:nvPr/>
          </p:nvSpPr>
          <p:spPr bwMode="auto">
            <a:xfrm>
              <a:off x="6773214" y="3533814"/>
              <a:ext cx="1395189" cy="1769026"/>
            </a:xfrm>
            <a:custGeom>
              <a:avLst/>
              <a:gdLst>
                <a:gd name="T0" fmla="*/ 0 w 1198"/>
                <a:gd name="T1" fmla="*/ 0 h 1519"/>
                <a:gd name="T2" fmla="*/ 87 w 1198"/>
                <a:gd name="T3" fmla="*/ 1519 h 1519"/>
                <a:gd name="T4" fmla="*/ 1117 w 1198"/>
                <a:gd name="T5" fmla="*/ 1519 h 1519"/>
                <a:gd name="T6" fmla="*/ 1198 w 1198"/>
                <a:gd name="T7" fmla="*/ 9 h 1519"/>
                <a:gd name="T8" fmla="*/ 0 w 1198"/>
                <a:gd name="T9" fmla="*/ 0 h 1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8" h="1519">
                  <a:moveTo>
                    <a:pt x="0" y="0"/>
                  </a:moveTo>
                  <a:lnTo>
                    <a:pt x="87" y="1519"/>
                  </a:lnTo>
                  <a:lnTo>
                    <a:pt x="1117" y="1519"/>
                  </a:lnTo>
                  <a:lnTo>
                    <a:pt x="1198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í$ḷïḑè">
              <a:extLst>
                <a:ext uri="{FF2B5EF4-FFF2-40B4-BE49-F238E27FC236}">
                  <a16:creationId xmlns:a16="http://schemas.microsoft.com/office/drawing/2014/main" id="{78FCEE60-24EF-47A2-8A46-4E26D0C19E6D}"/>
                </a:ext>
              </a:extLst>
            </p:cNvPr>
            <p:cNvSpPr/>
            <p:nvPr/>
          </p:nvSpPr>
          <p:spPr bwMode="auto">
            <a:xfrm>
              <a:off x="6773214" y="3533814"/>
              <a:ext cx="1395189" cy="1769026"/>
            </a:xfrm>
            <a:custGeom>
              <a:avLst/>
              <a:gdLst>
                <a:gd name="T0" fmla="*/ 0 w 1198"/>
                <a:gd name="T1" fmla="*/ 0 h 1519"/>
                <a:gd name="T2" fmla="*/ 87 w 1198"/>
                <a:gd name="T3" fmla="*/ 1519 h 1519"/>
                <a:gd name="T4" fmla="*/ 1117 w 1198"/>
                <a:gd name="T5" fmla="*/ 1519 h 1519"/>
                <a:gd name="T6" fmla="*/ 1198 w 1198"/>
                <a:gd name="T7" fmla="*/ 9 h 1519"/>
                <a:gd name="T8" fmla="*/ 0 w 1198"/>
                <a:gd name="T9" fmla="*/ 0 h 1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8" h="1519">
                  <a:moveTo>
                    <a:pt x="0" y="0"/>
                  </a:moveTo>
                  <a:lnTo>
                    <a:pt x="87" y="1519"/>
                  </a:lnTo>
                  <a:lnTo>
                    <a:pt x="1117" y="1519"/>
                  </a:lnTo>
                  <a:lnTo>
                    <a:pt x="1198" y="9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chemeClr val="tx1"/>
                </a:gs>
                <a:gs pos="100000">
                  <a:srgbClr val="3F3D56">
                    <a:alpha val="0"/>
                  </a:srgbClr>
                </a:gs>
              </a:gsLst>
              <a:lin ang="54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íşḻïḋê">
              <a:extLst>
                <a:ext uri="{FF2B5EF4-FFF2-40B4-BE49-F238E27FC236}">
                  <a16:creationId xmlns:a16="http://schemas.microsoft.com/office/drawing/2014/main" id="{91616BE1-36F0-44B0-AD56-A149F10312FC}"/>
                </a:ext>
              </a:extLst>
            </p:cNvPr>
            <p:cNvSpPr/>
            <p:nvPr/>
          </p:nvSpPr>
          <p:spPr bwMode="auto">
            <a:xfrm>
              <a:off x="6714984" y="3345149"/>
              <a:ext cx="1522131" cy="203805"/>
            </a:xfrm>
            <a:prstGeom prst="rect">
              <a:avLst/>
            </a:pr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îṧḷiďê">
              <a:extLst>
                <a:ext uri="{FF2B5EF4-FFF2-40B4-BE49-F238E27FC236}">
                  <a16:creationId xmlns:a16="http://schemas.microsoft.com/office/drawing/2014/main" id="{89E2ED9F-0368-44A8-A46B-4B1C336041A5}"/>
                </a:ext>
              </a:extLst>
            </p:cNvPr>
            <p:cNvSpPr/>
            <p:nvPr/>
          </p:nvSpPr>
          <p:spPr bwMode="auto">
            <a:xfrm>
              <a:off x="3989823" y="3533814"/>
              <a:ext cx="1396354" cy="1769026"/>
            </a:xfrm>
            <a:custGeom>
              <a:avLst/>
              <a:gdLst>
                <a:gd name="T0" fmla="*/ 0 w 1199"/>
                <a:gd name="T1" fmla="*/ 0 h 1519"/>
                <a:gd name="T2" fmla="*/ 87 w 1199"/>
                <a:gd name="T3" fmla="*/ 1519 h 1519"/>
                <a:gd name="T4" fmla="*/ 1118 w 1199"/>
                <a:gd name="T5" fmla="*/ 1519 h 1519"/>
                <a:gd name="T6" fmla="*/ 1199 w 1199"/>
                <a:gd name="T7" fmla="*/ 9 h 1519"/>
                <a:gd name="T8" fmla="*/ 0 w 1199"/>
                <a:gd name="T9" fmla="*/ 0 h 1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9" h="1519">
                  <a:moveTo>
                    <a:pt x="0" y="0"/>
                  </a:moveTo>
                  <a:lnTo>
                    <a:pt x="87" y="1519"/>
                  </a:lnTo>
                  <a:lnTo>
                    <a:pt x="1118" y="1519"/>
                  </a:lnTo>
                  <a:lnTo>
                    <a:pt x="1199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A9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îṡļíḓe">
              <a:extLst>
                <a:ext uri="{FF2B5EF4-FFF2-40B4-BE49-F238E27FC236}">
                  <a16:creationId xmlns:a16="http://schemas.microsoft.com/office/drawing/2014/main" id="{16A5A99E-524D-464B-AD8C-0C2D73F8B977}"/>
                </a:ext>
              </a:extLst>
            </p:cNvPr>
            <p:cNvSpPr/>
            <p:nvPr/>
          </p:nvSpPr>
          <p:spPr bwMode="auto">
            <a:xfrm>
              <a:off x="3931593" y="3345149"/>
              <a:ext cx="1522131" cy="203805"/>
            </a:xfrm>
            <a:prstGeom prst="rect">
              <a:avLst/>
            </a:prstGeom>
            <a:solidFill>
              <a:srgbClr val="3B7F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iś1ïdè">
              <a:extLst>
                <a:ext uri="{FF2B5EF4-FFF2-40B4-BE49-F238E27FC236}">
                  <a16:creationId xmlns:a16="http://schemas.microsoft.com/office/drawing/2014/main" id="{6A5612B0-5889-4750-B63B-A88531B248C5}"/>
                </a:ext>
              </a:extLst>
            </p:cNvPr>
            <p:cNvSpPr/>
            <p:nvPr/>
          </p:nvSpPr>
          <p:spPr bwMode="auto">
            <a:xfrm>
              <a:off x="4478955" y="3947247"/>
              <a:ext cx="507765" cy="278339"/>
            </a:xfrm>
            <a:custGeom>
              <a:avLst/>
              <a:gdLst>
                <a:gd name="T0" fmla="*/ 179 w 210"/>
                <a:gd name="T1" fmla="*/ 40 h 115"/>
                <a:gd name="T2" fmla="*/ 210 w 210"/>
                <a:gd name="T3" fmla="*/ 22 h 115"/>
                <a:gd name="T4" fmla="*/ 209 w 210"/>
                <a:gd name="T5" fmla="*/ 24 h 115"/>
                <a:gd name="T6" fmla="*/ 170 w 210"/>
                <a:gd name="T7" fmla="*/ 92 h 115"/>
                <a:gd name="T8" fmla="*/ 166 w 210"/>
                <a:gd name="T9" fmla="*/ 95 h 115"/>
                <a:gd name="T10" fmla="*/ 86 w 210"/>
                <a:gd name="T11" fmla="*/ 94 h 115"/>
                <a:gd name="T12" fmla="*/ 116 w 210"/>
                <a:gd name="T13" fmla="*/ 76 h 115"/>
                <a:gd name="T14" fmla="*/ 100 w 210"/>
                <a:gd name="T15" fmla="*/ 47 h 115"/>
                <a:gd name="T16" fmla="*/ 60 w 210"/>
                <a:gd name="T17" fmla="*/ 115 h 115"/>
                <a:gd name="T18" fmla="*/ 0 w 210"/>
                <a:gd name="T19" fmla="*/ 81 h 115"/>
                <a:gd name="T20" fmla="*/ 2 w 210"/>
                <a:gd name="T21" fmla="*/ 75 h 115"/>
                <a:gd name="T22" fmla="*/ 36 w 210"/>
                <a:gd name="T23" fmla="*/ 17 h 115"/>
                <a:gd name="T24" fmla="*/ 64 w 210"/>
                <a:gd name="T25" fmla="*/ 1 h 115"/>
                <a:gd name="T26" fmla="*/ 135 w 210"/>
                <a:gd name="T27" fmla="*/ 1 h 115"/>
                <a:gd name="T28" fmla="*/ 167 w 210"/>
                <a:gd name="T29" fmla="*/ 19 h 115"/>
                <a:gd name="T30" fmla="*/ 179 w 210"/>
                <a:gd name="T31" fmla="*/ 40 h 115"/>
                <a:gd name="T32" fmla="*/ 57 w 210"/>
                <a:gd name="T33" fmla="*/ 104 h 115"/>
                <a:gd name="T34" fmla="*/ 58 w 210"/>
                <a:gd name="T35" fmla="*/ 103 h 115"/>
                <a:gd name="T36" fmla="*/ 94 w 210"/>
                <a:gd name="T37" fmla="*/ 42 h 115"/>
                <a:gd name="T38" fmla="*/ 94 w 210"/>
                <a:gd name="T39" fmla="*/ 37 h 115"/>
                <a:gd name="T40" fmla="*/ 83 w 210"/>
                <a:gd name="T41" fmla="*/ 20 h 115"/>
                <a:gd name="T42" fmla="*/ 42 w 210"/>
                <a:gd name="T43" fmla="*/ 23 h 115"/>
                <a:gd name="T44" fmla="*/ 16 w 210"/>
                <a:gd name="T45" fmla="*/ 67 h 115"/>
                <a:gd name="T46" fmla="*/ 11 w 210"/>
                <a:gd name="T47" fmla="*/ 78 h 115"/>
                <a:gd name="T48" fmla="*/ 57 w 210"/>
                <a:gd name="T49" fmla="*/ 104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0" h="115">
                  <a:moveTo>
                    <a:pt x="179" y="40"/>
                  </a:moveTo>
                  <a:cubicBezTo>
                    <a:pt x="210" y="22"/>
                    <a:pt x="210" y="22"/>
                    <a:pt x="210" y="22"/>
                  </a:cubicBezTo>
                  <a:cubicBezTo>
                    <a:pt x="210" y="23"/>
                    <a:pt x="210" y="24"/>
                    <a:pt x="209" y="24"/>
                  </a:cubicBezTo>
                  <a:cubicBezTo>
                    <a:pt x="196" y="47"/>
                    <a:pt x="184" y="69"/>
                    <a:pt x="170" y="92"/>
                  </a:cubicBezTo>
                  <a:cubicBezTo>
                    <a:pt x="170" y="93"/>
                    <a:pt x="168" y="94"/>
                    <a:pt x="166" y="95"/>
                  </a:cubicBezTo>
                  <a:cubicBezTo>
                    <a:pt x="140" y="95"/>
                    <a:pt x="113" y="95"/>
                    <a:pt x="86" y="94"/>
                  </a:cubicBezTo>
                  <a:cubicBezTo>
                    <a:pt x="116" y="76"/>
                    <a:pt x="116" y="76"/>
                    <a:pt x="116" y="76"/>
                  </a:cubicBezTo>
                  <a:cubicBezTo>
                    <a:pt x="100" y="47"/>
                    <a:pt x="100" y="47"/>
                    <a:pt x="100" y="47"/>
                  </a:cubicBezTo>
                  <a:cubicBezTo>
                    <a:pt x="60" y="115"/>
                    <a:pt x="60" y="115"/>
                    <a:pt x="60" y="115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1" y="79"/>
                    <a:pt x="1" y="77"/>
                    <a:pt x="2" y="75"/>
                  </a:cubicBezTo>
                  <a:cubicBezTo>
                    <a:pt x="14" y="56"/>
                    <a:pt x="25" y="37"/>
                    <a:pt x="36" y="17"/>
                  </a:cubicBezTo>
                  <a:cubicBezTo>
                    <a:pt x="41" y="6"/>
                    <a:pt x="52" y="0"/>
                    <a:pt x="64" y="1"/>
                  </a:cubicBezTo>
                  <a:cubicBezTo>
                    <a:pt x="88" y="1"/>
                    <a:pt x="112" y="1"/>
                    <a:pt x="135" y="1"/>
                  </a:cubicBezTo>
                  <a:cubicBezTo>
                    <a:pt x="148" y="0"/>
                    <a:pt x="161" y="7"/>
                    <a:pt x="167" y="19"/>
                  </a:cubicBezTo>
                  <a:cubicBezTo>
                    <a:pt x="170" y="26"/>
                    <a:pt x="174" y="32"/>
                    <a:pt x="179" y="40"/>
                  </a:cubicBezTo>
                  <a:close/>
                  <a:moveTo>
                    <a:pt x="57" y="104"/>
                  </a:moveTo>
                  <a:cubicBezTo>
                    <a:pt x="58" y="104"/>
                    <a:pt x="58" y="103"/>
                    <a:pt x="58" y="103"/>
                  </a:cubicBezTo>
                  <a:cubicBezTo>
                    <a:pt x="70" y="83"/>
                    <a:pt x="82" y="62"/>
                    <a:pt x="94" y="42"/>
                  </a:cubicBezTo>
                  <a:cubicBezTo>
                    <a:pt x="95" y="40"/>
                    <a:pt x="95" y="39"/>
                    <a:pt x="94" y="37"/>
                  </a:cubicBezTo>
                  <a:cubicBezTo>
                    <a:pt x="91" y="31"/>
                    <a:pt x="87" y="25"/>
                    <a:pt x="83" y="20"/>
                  </a:cubicBezTo>
                  <a:cubicBezTo>
                    <a:pt x="71" y="4"/>
                    <a:pt x="52" y="6"/>
                    <a:pt x="42" y="23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5" y="70"/>
                    <a:pt x="12" y="74"/>
                    <a:pt x="11" y="78"/>
                  </a:cubicBezTo>
                  <a:lnTo>
                    <a:pt x="57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îṧḻïḑe">
              <a:extLst>
                <a:ext uri="{FF2B5EF4-FFF2-40B4-BE49-F238E27FC236}">
                  <a16:creationId xmlns:a16="http://schemas.microsoft.com/office/drawing/2014/main" id="{8E010F9A-531C-4C38-81A9-C1BDE6B41F4B}"/>
                </a:ext>
              </a:extLst>
            </p:cNvPr>
            <p:cNvSpPr/>
            <p:nvPr/>
          </p:nvSpPr>
          <p:spPr bwMode="auto">
            <a:xfrm>
              <a:off x="4333380" y="4210446"/>
              <a:ext cx="377330" cy="372672"/>
            </a:xfrm>
            <a:custGeom>
              <a:avLst/>
              <a:gdLst>
                <a:gd name="T0" fmla="*/ 32 w 156"/>
                <a:gd name="T1" fmla="*/ 19 h 154"/>
                <a:gd name="T2" fmla="*/ 0 w 156"/>
                <a:gd name="T3" fmla="*/ 0 h 154"/>
                <a:gd name="T4" fmla="*/ 5 w 156"/>
                <a:gd name="T5" fmla="*/ 0 h 154"/>
                <a:gd name="T6" fmla="*/ 79 w 156"/>
                <a:gd name="T7" fmla="*/ 0 h 154"/>
                <a:gd name="T8" fmla="*/ 86 w 156"/>
                <a:gd name="T9" fmla="*/ 3 h 154"/>
                <a:gd name="T10" fmla="*/ 125 w 156"/>
                <a:gd name="T11" fmla="*/ 69 h 154"/>
                <a:gd name="T12" fmla="*/ 126 w 156"/>
                <a:gd name="T13" fmla="*/ 73 h 154"/>
                <a:gd name="T14" fmla="*/ 94 w 156"/>
                <a:gd name="T15" fmla="*/ 54 h 154"/>
                <a:gd name="T16" fmla="*/ 78 w 156"/>
                <a:gd name="T17" fmla="*/ 83 h 154"/>
                <a:gd name="T18" fmla="*/ 156 w 156"/>
                <a:gd name="T19" fmla="*/ 83 h 154"/>
                <a:gd name="T20" fmla="*/ 156 w 156"/>
                <a:gd name="T21" fmla="*/ 153 h 154"/>
                <a:gd name="T22" fmla="*/ 151 w 156"/>
                <a:gd name="T23" fmla="*/ 153 h 154"/>
                <a:gd name="T24" fmla="*/ 84 w 156"/>
                <a:gd name="T25" fmla="*/ 153 h 154"/>
                <a:gd name="T26" fmla="*/ 56 w 156"/>
                <a:gd name="T27" fmla="*/ 137 h 154"/>
                <a:gd name="T28" fmla="*/ 19 w 156"/>
                <a:gd name="T29" fmla="*/ 74 h 154"/>
                <a:gd name="T30" fmla="*/ 19 w 156"/>
                <a:gd name="T31" fmla="*/ 41 h 154"/>
                <a:gd name="T32" fmla="*/ 32 w 156"/>
                <a:gd name="T33" fmla="*/ 19 h 154"/>
                <a:gd name="T34" fmla="*/ 113 w 156"/>
                <a:gd name="T35" fmla="*/ 146 h 154"/>
                <a:gd name="T36" fmla="*/ 144 w 156"/>
                <a:gd name="T37" fmla="*/ 146 h 154"/>
                <a:gd name="T38" fmla="*/ 149 w 156"/>
                <a:gd name="T39" fmla="*/ 141 h 154"/>
                <a:gd name="T40" fmla="*/ 149 w 156"/>
                <a:gd name="T41" fmla="*/ 96 h 154"/>
                <a:gd name="T42" fmla="*/ 144 w 156"/>
                <a:gd name="T43" fmla="*/ 91 h 154"/>
                <a:gd name="T44" fmla="*/ 77 w 156"/>
                <a:gd name="T45" fmla="*/ 91 h 154"/>
                <a:gd name="T46" fmla="*/ 72 w 156"/>
                <a:gd name="T47" fmla="*/ 93 h 154"/>
                <a:gd name="T48" fmla="*/ 62 w 156"/>
                <a:gd name="T49" fmla="*/ 111 h 154"/>
                <a:gd name="T50" fmla="*/ 86 w 156"/>
                <a:gd name="T51" fmla="*/ 145 h 154"/>
                <a:gd name="T52" fmla="*/ 113 w 156"/>
                <a:gd name="T53" fmla="*/ 14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6" h="154">
                  <a:moveTo>
                    <a:pt x="32" y="1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30" y="0"/>
                    <a:pt x="54" y="0"/>
                    <a:pt x="79" y="0"/>
                  </a:cubicBezTo>
                  <a:cubicBezTo>
                    <a:pt x="82" y="0"/>
                    <a:pt x="84" y="1"/>
                    <a:pt x="86" y="3"/>
                  </a:cubicBezTo>
                  <a:cubicBezTo>
                    <a:pt x="99" y="25"/>
                    <a:pt x="112" y="47"/>
                    <a:pt x="125" y="69"/>
                  </a:cubicBezTo>
                  <a:cubicBezTo>
                    <a:pt x="125" y="70"/>
                    <a:pt x="126" y="72"/>
                    <a:pt x="126" y="73"/>
                  </a:cubicBezTo>
                  <a:cubicBezTo>
                    <a:pt x="94" y="54"/>
                    <a:pt x="94" y="54"/>
                    <a:pt x="94" y="54"/>
                  </a:cubicBezTo>
                  <a:cubicBezTo>
                    <a:pt x="78" y="83"/>
                    <a:pt x="78" y="83"/>
                    <a:pt x="78" y="83"/>
                  </a:cubicBezTo>
                  <a:cubicBezTo>
                    <a:pt x="156" y="83"/>
                    <a:pt x="156" y="83"/>
                    <a:pt x="156" y="83"/>
                  </a:cubicBezTo>
                  <a:cubicBezTo>
                    <a:pt x="156" y="153"/>
                    <a:pt x="156" y="153"/>
                    <a:pt x="156" y="153"/>
                  </a:cubicBezTo>
                  <a:cubicBezTo>
                    <a:pt x="155" y="153"/>
                    <a:pt x="152" y="153"/>
                    <a:pt x="151" y="153"/>
                  </a:cubicBezTo>
                  <a:cubicBezTo>
                    <a:pt x="128" y="153"/>
                    <a:pt x="106" y="153"/>
                    <a:pt x="84" y="153"/>
                  </a:cubicBezTo>
                  <a:cubicBezTo>
                    <a:pt x="72" y="154"/>
                    <a:pt x="61" y="148"/>
                    <a:pt x="56" y="137"/>
                  </a:cubicBezTo>
                  <a:cubicBezTo>
                    <a:pt x="44" y="116"/>
                    <a:pt x="31" y="95"/>
                    <a:pt x="19" y="74"/>
                  </a:cubicBezTo>
                  <a:cubicBezTo>
                    <a:pt x="13" y="64"/>
                    <a:pt x="13" y="51"/>
                    <a:pt x="19" y="41"/>
                  </a:cubicBezTo>
                  <a:cubicBezTo>
                    <a:pt x="23" y="34"/>
                    <a:pt x="28" y="27"/>
                    <a:pt x="32" y="19"/>
                  </a:cubicBezTo>
                  <a:close/>
                  <a:moveTo>
                    <a:pt x="113" y="146"/>
                  </a:moveTo>
                  <a:cubicBezTo>
                    <a:pt x="123" y="146"/>
                    <a:pt x="134" y="146"/>
                    <a:pt x="144" y="146"/>
                  </a:cubicBezTo>
                  <a:cubicBezTo>
                    <a:pt x="148" y="146"/>
                    <a:pt x="149" y="145"/>
                    <a:pt x="149" y="141"/>
                  </a:cubicBezTo>
                  <a:cubicBezTo>
                    <a:pt x="149" y="126"/>
                    <a:pt x="149" y="111"/>
                    <a:pt x="149" y="96"/>
                  </a:cubicBezTo>
                  <a:cubicBezTo>
                    <a:pt x="149" y="92"/>
                    <a:pt x="148" y="91"/>
                    <a:pt x="144" y="91"/>
                  </a:cubicBezTo>
                  <a:cubicBezTo>
                    <a:pt x="122" y="91"/>
                    <a:pt x="100" y="91"/>
                    <a:pt x="77" y="91"/>
                  </a:cubicBezTo>
                  <a:cubicBezTo>
                    <a:pt x="75" y="91"/>
                    <a:pt x="73" y="92"/>
                    <a:pt x="72" y="93"/>
                  </a:cubicBezTo>
                  <a:cubicBezTo>
                    <a:pt x="68" y="99"/>
                    <a:pt x="65" y="105"/>
                    <a:pt x="62" y="111"/>
                  </a:cubicBezTo>
                  <a:cubicBezTo>
                    <a:pt x="55" y="130"/>
                    <a:pt x="66" y="145"/>
                    <a:pt x="86" y="145"/>
                  </a:cubicBezTo>
                  <a:lnTo>
                    <a:pt x="113" y="1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ísľíḋe">
              <a:extLst>
                <a:ext uri="{FF2B5EF4-FFF2-40B4-BE49-F238E27FC236}">
                  <a16:creationId xmlns:a16="http://schemas.microsoft.com/office/drawing/2014/main" id="{C2B0B7BA-94BB-4706-849C-13758669146F}"/>
                </a:ext>
              </a:extLst>
            </p:cNvPr>
            <p:cNvSpPr/>
            <p:nvPr/>
          </p:nvSpPr>
          <p:spPr bwMode="auto">
            <a:xfrm>
              <a:off x="4742154" y="4158039"/>
              <a:ext cx="336569" cy="511259"/>
            </a:xfrm>
            <a:custGeom>
              <a:avLst/>
              <a:gdLst>
                <a:gd name="T0" fmla="*/ 42 w 139"/>
                <a:gd name="T1" fmla="*/ 68 h 212"/>
                <a:gd name="T2" fmla="*/ 42 w 139"/>
                <a:gd name="T3" fmla="*/ 103 h 212"/>
                <a:gd name="T4" fmla="*/ 75 w 139"/>
                <a:gd name="T5" fmla="*/ 103 h 212"/>
                <a:gd name="T6" fmla="*/ 36 w 139"/>
                <a:gd name="T7" fmla="*/ 35 h 212"/>
                <a:gd name="T8" fmla="*/ 96 w 139"/>
                <a:gd name="T9" fmla="*/ 0 h 212"/>
                <a:gd name="T10" fmla="*/ 99 w 139"/>
                <a:gd name="T11" fmla="*/ 5 h 212"/>
                <a:gd name="T12" fmla="*/ 133 w 139"/>
                <a:gd name="T13" fmla="*/ 63 h 212"/>
                <a:gd name="T14" fmla="*/ 133 w 139"/>
                <a:gd name="T15" fmla="*/ 94 h 212"/>
                <a:gd name="T16" fmla="*/ 96 w 139"/>
                <a:gd name="T17" fmla="*/ 158 h 212"/>
                <a:gd name="T18" fmla="*/ 68 w 139"/>
                <a:gd name="T19" fmla="*/ 175 h 212"/>
                <a:gd name="T20" fmla="*/ 42 w 139"/>
                <a:gd name="T21" fmla="*/ 175 h 212"/>
                <a:gd name="T22" fmla="*/ 42 w 139"/>
                <a:gd name="T23" fmla="*/ 212 h 212"/>
                <a:gd name="T24" fmla="*/ 39 w 139"/>
                <a:gd name="T25" fmla="*/ 207 h 212"/>
                <a:gd name="T26" fmla="*/ 2 w 139"/>
                <a:gd name="T27" fmla="*/ 144 h 212"/>
                <a:gd name="T28" fmla="*/ 2 w 139"/>
                <a:gd name="T29" fmla="*/ 135 h 212"/>
                <a:gd name="T30" fmla="*/ 41 w 139"/>
                <a:gd name="T31" fmla="*/ 67 h 212"/>
                <a:gd name="T32" fmla="*/ 42 w 139"/>
                <a:gd name="T33" fmla="*/ 68 h 212"/>
                <a:gd name="T34" fmla="*/ 46 w 139"/>
                <a:gd name="T35" fmla="*/ 38 h 212"/>
                <a:gd name="T36" fmla="*/ 75 w 139"/>
                <a:gd name="T37" fmla="*/ 88 h 212"/>
                <a:gd name="T38" fmla="*/ 103 w 139"/>
                <a:gd name="T39" fmla="*/ 103 h 212"/>
                <a:gd name="T40" fmla="*/ 105 w 139"/>
                <a:gd name="T41" fmla="*/ 103 h 212"/>
                <a:gd name="T42" fmla="*/ 125 w 139"/>
                <a:gd name="T43" fmla="*/ 66 h 212"/>
                <a:gd name="T44" fmla="*/ 97 w 139"/>
                <a:gd name="T45" fmla="*/ 16 h 212"/>
                <a:gd name="T46" fmla="*/ 93 w 139"/>
                <a:gd name="T47" fmla="*/ 11 h 212"/>
                <a:gd name="T48" fmla="*/ 46 w 139"/>
                <a:gd name="T49" fmla="*/ 3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9" h="212">
                  <a:moveTo>
                    <a:pt x="42" y="68"/>
                  </a:moveTo>
                  <a:cubicBezTo>
                    <a:pt x="42" y="103"/>
                    <a:pt x="42" y="103"/>
                    <a:pt x="42" y="103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7" y="2"/>
                    <a:pt x="98" y="3"/>
                    <a:pt x="99" y="5"/>
                  </a:cubicBezTo>
                  <a:cubicBezTo>
                    <a:pt x="111" y="24"/>
                    <a:pt x="122" y="44"/>
                    <a:pt x="133" y="63"/>
                  </a:cubicBezTo>
                  <a:cubicBezTo>
                    <a:pt x="139" y="72"/>
                    <a:pt x="139" y="85"/>
                    <a:pt x="133" y="94"/>
                  </a:cubicBezTo>
                  <a:cubicBezTo>
                    <a:pt x="121" y="115"/>
                    <a:pt x="109" y="137"/>
                    <a:pt x="96" y="158"/>
                  </a:cubicBezTo>
                  <a:cubicBezTo>
                    <a:pt x="91" y="169"/>
                    <a:pt x="80" y="175"/>
                    <a:pt x="68" y="175"/>
                  </a:cubicBezTo>
                  <a:cubicBezTo>
                    <a:pt x="60" y="175"/>
                    <a:pt x="51" y="175"/>
                    <a:pt x="42" y="175"/>
                  </a:cubicBezTo>
                  <a:cubicBezTo>
                    <a:pt x="42" y="212"/>
                    <a:pt x="42" y="212"/>
                    <a:pt x="42" y="212"/>
                  </a:cubicBezTo>
                  <a:cubicBezTo>
                    <a:pt x="41" y="210"/>
                    <a:pt x="40" y="208"/>
                    <a:pt x="39" y="207"/>
                  </a:cubicBezTo>
                  <a:cubicBezTo>
                    <a:pt x="27" y="186"/>
                    <a:pt x="14" y="165"/>
                    <a:pt x="2" y="144"/>
                  </a:cubicBezTo>
                  <a:cubicBezTo>
                    <a:pt x="0" y="141"/>
                    <a:pt x="0" y="137"/>
                    <a:pt x="2" y="135"/>
                  </a:cubicBezTo>
                  <a:cubicBezTo>
                    <a:pt x="15" y="112"/>
                    <a:pt x="28" y="90"/>
                    <a:pt x="41" y="67"/>
                  </a:cubicBezTo>
                  <a:lnTo>
                    <a:pt x="42" y="68"/>
                  </a:lnTo>
                  <a:close/>
                  <a:moveTo>
                    <a:pt x="46" y="38"/>
                  </a:moveTo>
                  <a:cubicBezTo>
                    <a:pt x="75" y="88"/>
                    <a:pt x="75" y="88"/>
                    <a:pt x="75" y="88"/>
                  </a:cubicBezTo>
                  <a:cubicBezTo>
                    <a:pt x="84" y="104"/>
                    <a:pt x="84" y="104"/>
                    <a:pt x="103" y="103"/>
                  </a:cubicBezTo>
                  <a:cubicBezTo>
                    <a:pt x="105" y="103"/>
                    <a:pt x="105" y="103"/>
                    <a:pt x="105" y="103"/>
                  </a:cubicBezTo>
                  <a:cubicBezTo>
                    <a:pt x="125" y="102"/>
                    <a:pt x="135" y="83"/>
                    <a:pt x="125" y="66"/>
                  </a:cubicBezTo>
                  <a:cubicBezTo>
                    <a:pt x="116" y="49"/>
                    <a:pt x="106" y="33"/>
                    <a:pt x="97" y="16"/>
                  </a:cubicBezTo>
                  <a:cubicBezTo>
                    <a:pt x="96" y="15"/>
                    <a:pt x="95" y="13"/>
                    <a:pt x="93" y="11"/>
                  </a:cubicBezTo>
                  <a:lnTo>
                    <a:pt x="46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iṩḻíḑé">
              <a:extLst>
                <a:ext uri="{FF2B5EF4-FFF2-40B4-BE49-F238E27FC236}">
                  <a16:creationId xmlns:a16="http://schemas.microsoft.com/office/drawing/2014/main" id="{296AAF75-36A6-4A55-ABBD-C869A18E70A1}"/>
                </a:ext>
              </a:extLst>
            </p:cNvPr>
            <p:cNvSpPr/>
            <p:nvPr/>
          </p:nvSpPr>
          <p:spPr bwMode="auto">
            <a:xfrm>
              <a:off x="7208774" y="3947247"/>
              <a:ext cx="507765" cy="278339"/>
            </a:xfrm>
            <a:custGeom>
              <a:avLst/>
              <a:gdLst>
                <a:gd name="T0" fmla="*/ 179 w 210"/>
                <a:gd name="T1" fmla="*/ 40 h 115"/>
                <a:gd name="T2" fmla="*/ 210 w 210"/>
                <a:gd name="T3" fmla="*/ 22 h 115"/>
                <a:gd name="T4" fmla="*/ 209 w 210"/>
                <a:gd name="T5" fmla="*/ 24 h 115"/>
                <a:gd name="T6" fmla="*/ 170 w 210"/>
                <a:gd name="T7" fmla="*/ 92 h 115"/>
                <a:gd name="T8" fmla="*/ 166 w 210"/>
                <a:gd name="T9" fmla="*/ 95 h 115"/>
                <a:gd name="T10" fmla="*/ 85 w 210"/>
                <a:gd name="T11" fmla="*/ 94 h 115"/>
                <a:gd name="T12" fmla="*/ 116 w 210"/>
                <a:gd name="T13" fmla="*/ 76 h 115"/>
                <a:gd name="T14" fmla="*/ 100 w 210"/>
                <a:gd name="T15" fmla="*/ 47 h 115"/>
                <a:gd name="T16" fmla="*/ 60 w 210"/>
                <a:gd name="T17" fmla="*/ 115 h 115"/>
                <a:gd name="T18" fmla="*/ 0 w 210"/>
                <a:gd name="T19" fmla="*/ 81 h 115"/>
                <a:gd name="T20" fmla="*/ 2 w 210"/>
                <a:gd name="T21" fmla="*/ 75 h 115"/>
                <a:gd name="T22" fmla="*/ 36 w 210"/>
                <a:gd name="T23" fmla="*/ 17 h 115"/>
                <a:gd name="T24" fmla="*/ 64 w 210"/>
                <a:gd name="T25" fmla="*/ 1 h 115"/>
                <a:gd name="T26" fmla="*/ 135 w 210"/>
                <a:gd name="T27" fmla="*/ 1 h 115"/>
                <a:gd name="T28" fmla="*/ 167 w 210"/>
                <a:gd name="T29" fmla="*/ 19 h 115"/>
                <a:gd name="T30" fmla="*/ 179 w 210"/>
                <a:gd name="T31" fmla="*/ 40 h 115"/>
                <a:gd name="T32" fmla="*/ 57 w 210"/>
                <a:gd name="T33" fmla="*/ 104 h 115"/>
                <a:gd name="T34" fmla="*/ 58 w 210"/>
                <a:gd name="T35" fmla="*/ 103 h 115"/>
                <a:gd name="T36" fmla="*/ 94 w 210"/>
                <a:gd name="T37" fmla="*/ 42 h 115"/>
                <a:gd name="T38" fmla="*/ 94 w 210"/>
                <a:gd name="T39" fmla="*/ 37 h 115"/>
                <a:gd name="T40" fmla="*/ 83 w 210"/>
                <a:gd name="T41" fmla="*/ 20 h 115"/>
                <a:gd name="T42" fmla="*/ 42 w 210"/>
                <a:gd name="T43" fmla="*/ 23 h 115"/>
                <a:gd name="T44" fmla="*/ 16 w 210"/>
                <a:gd name="T45" fmla="*/ 67 h 115"/>
                <a:gd name="T46" fmla="*/ 10 w 210"/>
                <a:gd name="T47" fmla="*/ 78 h 115"/>
                <a:gd name="T48" fmla="*/ 57 w 210"/>
                <a:gd name="T49" fmla="*/ 104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0" h="115">
                  <a:moveTo>
                    <a:pt x="179" y="40"/>
                  </a:moveTo>
                  <a:cubicBezTo>
                    <a:pt x="210" y="22"/>
                    <a:pt x="210" y="22"/>
                    <a:pt x="210" y="22"/>
                  </a:cubicBezTo>
                  <a:cubicBezTo>
                    <a:pt x="210" y="23"/>
                    <a:pt x="210" y="24"/>
                    <a:pt x="209" y="24"/>
                  </a:cubicBezTo>
                  <a:cubicBezTo>
                    <a:pt x="196" y="47"/>
                    <a:pt x="183" y="69"/>
                    <a:pt x="170" y="92"/>
                  </a:cubicBezTo>
                  <a:cubicBezTo>
                    <a:pt x="169" y="93"/>
                    <a:pt x="168" y="94"/>
                    <a:pt x="166" y="95"/>
                  </a:cubicBezTo>
                  <a:cubicBezTo>
                    <a:pt x="139" y="95"/>
                    <a:pt x="113" y="95"/>
                    <a:pt x="85" y="94"/>
                  </a:cubicBezTo>
                  <a:cubicBezTo>
                    <a:pt x="116" y="76"/>
                    <a:pt x="116" y="76"/>
                    <a:pt x="116" y="76"/>
                  </a:cubicBezTo>
                  <a:cubicBezTo>
                    <a:pt x="100" y="47"/>
                    <a:pt x="100" y="47"/>
                    <a:pt x="100" y="47"/>
                  </a:cubicBezTo>
                  <a:cubicBezTo>
                    <a:pt x="86" y="71"/>
                    <a:pt x="73" y="93"/>
                    <a:pt x="60" y="115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1" y="79"/>
                    <a:pt x="1" y="77"/>
                    <a:pt x="2" y="75"/>
                  </a:cubicBezTo>
                  <a:cubicBezTo>
                    <a:pt x="14" y="56"/>
                    <a:pt x="25" y="37"/>
                    <a:pt x="36" y="17"/>
                  </a:cubicBezTo>
                  <a:cubicBezTo>
                    <a:pt x="41" y="6"/>
                    <a:pt x="52" y="0"/>
                    <a:pt x="64" y="1"/>
                  </a:cubicBezTo>
                  <a:cubicBezTo>
                    <a:pt x="88" y="1"/>
                    <a:pt x="112" y="1"/>
                    <a:pt x="135" y="1"/>
                  </a:cubicBezTo>
                  <a:cubicBezTo>
                    <a:pt x="148" y="0"/>
                    <a:pt x="161" y="7"/>
                    <a:pt x="167" y="19"/>
                  </a:cubicBezTo>
                  <a:cubicBezTo>
                    <a:pt x="170" y="26"/>
                    <a:pt x="174" y="32"/>
                    <a:pt x="179" y="40"/>
                  </a:cubicBezTo>
                  <a:close/>
                  <a:moveTo>
                    <a:pt x="57" y="104"/>
                  </a:moveTo>
                  <a:cubicBezTo>
                    <a:pt x="57" y="104"/>
                    <a:pt x="58" y="103"/>
                    <a:pt x="58" y="103"/>
                  </a:cubicBezTo>
                  <a:cubicBezTo>
                    <a:pt x="70" y="83"/>
                    <a:pt x="82" y="62"/>
                    <a:pt x="94" y="42"/>
                  </a:cubicBezTo>
                  <a:cubicBezTo>
                    <a:pt x="94" y="40"/>
                    <a:pt x="94" y="39"/>
                    <a:pt x="94" y="37"/>
                  </a:cubicBezTo>
                  <a:cubicBezTo>
                    <a:pt x="91" y="31"/>
                    <a:pt x="87" y="25"/>
                    <a:pt x="83" y="20"/>
                  </a:cubicBezTo>
                  <a:cubicBezTo>
                    <a:pt x="71" y="4"/>
                    <a:pt x="52" y="6"/>
                    <a:pt x="42" y="23"/>
                  </a:cubicBezTo>
                  <a:cubicBezTo>
                    <a:pt x="33" y="38"/>
                    <a:pt x="25" y="52"/>
                    <a:pt x="16" y="67"/>
                  </a:cubicBezTo>
                  <a:cubicBezTo>
                    <a:pt x="14" y="70"/>
                    <a:pt x="12" y="74"/>
                    <a:pt x="10" y="78"/>
                  </a:cubicBezTo>
                  <a:lnTo>
                    <a:pt x="57" y="1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îSḻïḍè">
              <a:extLst>
                <a:ext uri="{FF2B5EF4-FFF2-40B4-BE49-F238E27FC236}">
                  <a16:creationId xmlns:a16="http://schemas.microsoft.com/office/drawing/2014/main" id="{3892C890-CF55-443D-8496-21C7E401960D}"/>
                </a:ext>
              </a:extLst>
            </p:cNvPr>
            <p:cNvSpPr/>
            <p:nvPr/>
          </p:nvSpPr>
          <p:spPr bwMode="auto">
            <a:xfrm>
              <a:off x="7063200" y="4210446"/>
              <a:ext cx="377330" cy="372672"/>
            </a:xfrm>
            <a:custGeom>
              <a:avLst/>
              <a:gdLst>
                <a:gd name="T0" fmla="*/ 32 w 156"/>
                <a:gd name="T1" fmla="*/ 19 h 154"/>
                <a:gd name="T2" fmla="*/ 0 w 156"/>
                <a:gd name="T3" fmla="*/ 0 h 154"/>
                <a:gd name="T4" fmla="*/ 5 w 156"/>
                <a:gd name="T5" fmla="*/ 0 h 154"/>
                <a:gd name="T6" fmla="*/ 79 w 156"/>
                <a:gd name="T7" fmla="*/ 0 h 154"/>
                <a:gd name="T8" fmla="*/ 86 w 156"/>
                <a:gd name="T9" fmla="*/ 3 h 154"/>
                <a:gd name="T10" fmla="*/ 125 w 156"/>
                <a:gd name="T11" fmla="*/ 69 h 154"/>
                <a:gd name="T12" fmla="*/ 126 w 156"/>
                <a:gd name="T13" fmla="*/ 73 h 154"/>
                <a:gd name="T14" fmla="*/ 94 w 156"/>
                <a:gd name="T15" fmla="*/ 54 h 154"/>
                <a:gd name="T16" fmla="*/ 78 w 156"/>
                <a:gd name="T17" fmla="*/ 83 h 154"/>
                <a:gd name="T18" fmla="*/ 156 w 156"/>
                <a:gd name="T19" fmla="*/ 83 h 154"/>
                <a:gd name="T20" fmla="*/ 156 w 156"/>
                <a:gd name="T21" fmla="*/ 153 h 154"/>
                <a:gd name="T22" fmla="*/ 150 w 156"/>
                <a:gd name="T23" fmla="*/ 153 h 154"/>
                <a:gd name="T24" fmla="*/ 83 w 156"/>
                <a:gd name="T25" fmla="*/ 153 h 154"/>
                <a:gd name="T26" fmla="*/ 55 w 156"/>
                <a:gd name="T27" fmla="*/ 137 h 154"/>
                <a:gd name="T28" fmla="*/ 19 w 156"/>
                <a:gd name="T29" fmla="*/ 74 h 154"/>
                <a:gd name="T30" fmla="*/ 19 w 156"/>
                <a:gd name="T31" fmla="*/ 41 h 154"/>
                <a:gd name="T32" fmla="*/ 32 w 156"/>
                <a:gd name="T33" fmla="*/ 19 h 154"/>
                <a:gd name="T34" fmla="*/ 113 w 156"/>
                <a:gd name="T35" fmla="*/ 146 h 154"/>
                <a:gd name="T36" fmla="*/ 144 w 156"/>
                <a:gd name="T37" fmla="*/ 146 h 154"/>
                <a:gd name="T38" fmla="*/ 149 w 156"/>
                <a:gd name="T39" fmla="*/ 141 h 154"/>
                <a:gd name="T40" fmla="*/ 149 w 156"/>
                <a:gd name="T41" fmla="*/ 96 h 154"/>
                <a:gd name="T42" fmla="*/ 144 w 156"/>
                <a:gd name="T43" fmla="*/ 91 h 154"/>
                <a:gd name="T44" fmla="*/ 77 w 156"/>
                <a:gd name="T45" fmla="*/ 91 h 154"/>
                <a:gd name="T46" fmla="*/ 72 w 156"/>
                <a:gd name="T47" fmla="*/ 93 h 154"/>
                <a:gd name="T48" fmla="*/ 62 w 156"/>
                <a:gd name="T49" fmla="*/ 111 h 154"/>
                <a:gd name="T50" fmla="*/ 86 w 156"/>
                <a:gd name="T51" fmla="*/ 145 h 154"/>
                <a:gd name="T52" fmla="*/ 113 w 156"/>
                <a:gd name="T53" fmla="*/ 14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6" h="154">
                  <a:moveTo>
                    <a:pt x="32" y="1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5" y="0"/>
                  </a:cubicBezTo>
                  <a:cubicBezTo>
                    <a:pt x="30" y="0"/>
                    <a:pt x="54" y="0"/>
                    <a:pt x="79" y="0"/>
                  </a:cubicBezTo>
                  <a:cubicBezTo>
                    <a:pt x="82" y="0"/>
                    <a:pt x="84" y="1"/>
                    <a:pt x="86" y="3"/>
                  </a:cubicBezTo>
                  <a:cubicBezTo>
                    <a:pt x="99" y="25"/>
                    <a:pt x="112" y="47"/>
                    <a:pt x="125" y="69"/>
                  </a:cubicBezTo>
                  <a:cubicBezTo>
                    <a:pt x="125" y="70"/>
                    <a:pt x="125" y="71"/>
                    <a:pt x="126" y="73"/>
                  </a:cubicBezTo>
                  <a:cubicBezTo>
                    <a:pt x="94" y="54"/>
                    <a:pt x="94" y="54"/>
                    <a:pt x="94" y="54"/>
                  </a:cubicBezTo>
                  <a:cubicBezTo>
                    <a:pt x="78" y="83"/>
                    <a:pt x="78" y="83"/>
                    <a:pt x="78" y="83"/>
                  </a:cubicBezTo>
                  <a:cubicBezTo>
                    <a:pt x="156" y="83"/>
                    <a:pt x="156" y="83"/>
                    <a:pt x="156" y="83"/>
                  </a:cubicBezTo>
                  <a:cubicBezTo>
                    <a:pt x="156" y="153"/>
                    <a:pt x="156" y="153"/>
                    <a:pt x="156" y="153"/>
                  </a:cubicBezTo>
                  <a:cubicBezTo>
                    <a:pt x="154" y="153"/>
                    <a:pt x="152" y="153"/>
                    <a:pt x="150" y="153"/>
                  </a:cubicBezTo>
                  <a:cubicBezTo>
                    <a:pt x="128" y="153"/>
                    <a:pt x="106" y="153"/>
                    <a:pt x="83" y="153"/>
                  </a:cubicBezTo>
                  <a:cubicBezTo>
                    <a:pt x="72" y="154"/>
                    <a:pt x="61" y="148"/>
                    <a:pt x="55" y="137"/>
                  </a:cubicBezTo>
                  <a:cubicBezTo>
                    <a:pt x="43" y="116"/>
                    <a:pt x="31" y="95"/>
                    <a:pt x="19" y="74"/>
                  </a:cubicBezTo>
                  <a:cubicBezTo>
                    <a:pt x="13" y="64"/>
                    <a:pt x="13" y="51"/>
                    <a:pt x="19" y="41"/>
                  </a:cubicBezTo>
                  <a:cubicBezTo>
                    <a:pt x="23" y="34"/>
                    <a:pt x="27" y="27"/>
                    <a:pt x="32" y="19"/>
                  </a:cubicBezTo>
                  <a:close/>
                  <a:moveTo>
                    <a:pt x="113" y="146"/>
                  </a:moveTo>
                  <a:cubicBezTo>
                    <a:pt x="123" y="146"/>
                    <a:pt x="133" y="146"/>
                    <a:pt x="144" y="146"/>
                  </a:cubicBezTo>
                  <a:cubicBezTo>
                    <a:pt x="147" y="146"/>
                    <a:pt x="149" y="145"/>
                    <a:pt x="149" y="141"/>
                  </a:cubicBezTo>
                  <a:cubicBezTo>
                    <a:pt x="149" y="126"/>
                    <a:pt x="149" y="111"/>
                    <a:pt x="149" y="96"/>
                  </a:cubicBezTo>
                  <a:cubicBezTo>
                    <a:pt x="149" y="92"/>
                    <a:pt x="148" y="91"/>
                    <a:pt x="144" y="91"/>
                  </a:cubicBezTo>
                  <a:cubicBezTo>
                    <a:pt x="122" y="91"/>
                    <a:pt x="99" y="91"/>
                    <a:pt x="77" y="91"/>
                  </a:cubicBezTo>
                  <a:cubicBezTo>
                    <a:pt x="75" y="91"/>
                    <a:pt x="73" y="92"/>
                    <a:pt x="72" y="93"/>
                  </a:cubicBezTo>
                  <a:cubicBezTo>
                    <a:pt x="68" y="99"/>
                    <a:pt x="65" y="105"/>
                    <a:pt x="62" y="111"/>
                  </a:cubicBezTo>
                  <a:cubicBezTo>
                    <a:pt x="55" y="130"/>
                    <a:pt x="66" y="145"/>
                    <a:pt x="86" y="145"/>
                  </a:cubicBezTo>
                  <a:lnTo>
                    <a:pt x="113" y="1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íSļíḓè">
              <a:extLst>
                <a:ext uri="{FF2B5EF4-FFF2-40B4-BE49-F238E27FC236}">
                  <a16:creationId xmlns:a16="http://schemas.microsoft.com/office/drawing/2014/main" id="{B202E412-146C-416D-8B4D-E801E0CBC0F2}"/>
                </a:ext>
              </a:extLst>
            </p:cNvPr>
            <p:cNvSpPr/>
            <p:nvPr/>
          </p:nvSpPr>
          <p:spPr bwMode="auto">
            <a:xfrm>
              <a:off x="7471973" y="4158039"/>
              <a:ext cx="336569" cy="511259"/>
            </a:xfrm>
            <a:custGeom>
              <a:avLst/>
              <a:gdLst>
                <a:gd name="T0" fmla="*/ 42 w 139"/>
                <a:gd name="T1" fmla="*/ 68 h 212"/>
                <a:gd name="T2" fmla="*/ 42 w 139"/>
                <a:gd name="T3" fmla="*/ 103 h 212"/>
                <a:gd name="T4" fmla="*/ 74 w 139"/>
                <a:gd name="T5" fmla="*/ 103 h 212"/>
                <a:gd name="T6" fmla="*/ 35 w 139"/>
                <a:gd name="T7" fmla="*/ 35 h 212"/>
                <a:gd name="T8" fmla="*/ 96 w 139"/>
                <a:gd name="T9" fmla="*/ 0 h 212"/>
                <a:gd name="T10" fmla="*/ 99 w 139"/>
                <a:gd name="T11" fmla="*/ 5 h 212"/>
                <a:gd name="T12" fmla="*/ 133 w 139"/>
                <a:gd name="T13" fmla="*/ 63 h 212"/>
                <a:gd name="T14" fmla="*/ 133 w 139"/>
                <a:gd name="T15" fmla="*/ 94 h 212"/>
                <a:gd name="T16" fmla="*/ 96 w 139"/>
                <a:gd name="T17" fmla="*/ 158 h 212"/>
                <a:gd name="T18" fmla="*/ 68 w 139"/>
                <a:gd name="T19" fmla="*/ 175 h 212"/>
                <a:gd name="T20" fmla="*/ 42 w 139"/>
                <a:gd name="T21" fmla="*/ 175 h 212"/>
                <a:gd name="T22" fmla="*/ 42 w 139"/>
                <a:gd name="T23" fmla="*/ 212 h 212"/>
                <a:gd name="T24" fmla="*/ 39 w 139"/>
                <a:gd name="T25" fmla="*/ 207 h 212"/>
                <a:gd name="T26" fmla="*/ 2 w 139"/>
                <a:gd name="T27" fmla="*/ 144 h 212"/>
                <a:gd name="T28" fmla="*/ 2 w 139"/>
                <a:gd name="T29" fmla="*/ 135 h 212"/>
                <a:gd name="T30" fmla="*/ 41 w 139"/>
                <a:gd name="T31" fmla="*/ 67 h 212"/>
                <a:gd name="T32" fmla="*/ 42 w 139"/>
                <a:gd name="T33" fmla="*/ 68 h 212"/>
                <a:gd name="T34" fmla="*/ 46 w 139"/>
                <a:gd name="T35" fmla="*/ 38 h 212"/>
                <a:gd name="T36" fmla="*/ 75 w 139"/>
                <a:gd name="T37" fmla="*/ 88 h 212"/>
                <a:gd name="T38" fmla="*/ 103 w 139"/>
                <a:gd name="T39" fmla="*/ 103 h 212"/>
                <a:gd name="T40" fmla="*/ 105 w 139"/>
                <a:gd name="T41" fmla="*/ 103 h 212"/>
                <a:gd name="T42" fmla="*/ 125 w 139"/>
                <a:gd name="T43" fmla="*/ 66 h 212"/>
                <a:gd name="T44" fmla="*/ 97 w 139"/>
                <a:gd name="T45" fmla="*/ 16 h 212"/>
                <a:gd name="T46" fmla="*/ 93 w 139"/>
                <a:gd name="T47" fmla="*/ 11 h 212"/>
                <a:gd name="T48" fmla="*/ 46 w 139"/>
                <a:gd name="T49" fmla="*/ 3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9" h="212">
                  <a:moveTo>
                    <a:pt x="42" y="68"/>
                  </a:moveTo>
                  <a:cubicBezTo>
                    <a:pt x="42" y="103"/>
                    <a:pt x="42" y="103"/>
                    <a:pt x="42" y="103"/>
                  </a:cubicBezTo>
                  <a:cubicBezTo>
                    <a:pt x="74" y="103"/>
                    <a:pt x="74" y="103"/>
                    <a:pt x="74" y="103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7" y="2"/>
                    <a:pt x="98" y="3"/>
                    <a:pt x="99" y="5"/>
                  </a:cubicBezTo>
                  <a:cubicBezTo>
                    <a:pt x="110" y="24"/>
                    <a:pt x="122" y="44"/>
                    <a:pt x="133" y="63"/>
                  </a:cubicBezTo>
                  <a:cubicBezTo>
                    <a:pt x="139" y="72"/>
                    <a:pt x="139" y="85"/>
                    <a:pt x="133" y="94"/>
                  </a:cubicBezTo>
                  <a:cubicBezTo>
                    <a:pt x="121" y="115"/>
                    <a:pt x="108" y="137"/>
                    <a:pt x="96" y="158"/>
                  </a:cubicBezTo>
                  <a:cubicBezTo>
                    <a:pt x="91" y="169"/>
                    <a:pt x="80" y="175"/>
                    <a:pt x="68" y="175"/>
                  </a:cubicBezTo>
                  <a:cubicBezTo>
                    <a:pt x="59" y="175"/>
                    <a:pt x="51" y="175"/>
                    <a:pt x="42" y="175"/>
                  </a:cubicBezTo>
                  <a:cubicBezTo>
                    <a:pt x="42" y="212"/>
                    <a:pt x="42" y="212"/>
                    <a:pt x="42" y="212"/>
                  </a:cubicBezTo>
                  <a:cubicBezTo>
                    <a:pt x="40" y="210"/>
                    <a:pt x="39" y="208"/>
                    <a:pt x="39" y="207"/>
                  </a:cubicBezTo>
                  <a:cubicBezTo>
                    <a:pt x="27" y="186"/>
                    <a:pt x="14" y="165"/>
                    <a:pt x="2" y="144"/>
                  </a:cubicBezTo>
                  <a:cubicBezTo>
                    <a:pt x="0" y="141"/>
                    <a:pt x="0" y="137"/>
                    <a:pt x="2" y="135"/>
                  </a:cubicBezTo>
                  <a:cubicBezTo>
                    <a:pt x="15" y="112"/>
                    <a:pt x="28" y="90"/>
                    <a:pt x="41" y="67"/>
                  </a:cubicBezTo>
                  <a:lnTo>
                    <a:pt x="42" y="68"/>
                  </a:lnTo>
                  <a:close/>
                  <a:moveTo>
                    <a:pt x="46" y="38"/>
                  </a:moveTo>
                  <a:cubicBezTo>
                    <a:pt x="75" y="88"/>
                    <a:pt x="75" y="88"/>
                    <a:pt x="75" y="88"/>
                  </a:cubicBezTo>
                  <a:cubicBezTo>
                    <a:pt x="84" y="104"/>
                    <a:pt x="84" y="104"/>
                    <a:pt x="103" y="103"/>
                  </a:cubicBezTo>
                  <a:cubicBezTo>
                    <a:pt x="105" y="103"/>
                    <a:pt x="105" y="103"/>
                    <a:pt x="105" y="103"/>
                  </a:cubicBezTo>
                  <a:cubicBezTo>
                    <a:pt x="125" y="102"/>
                    <a:pt x="135" y="83"/>
                    <a:pt x="125" y="66"/>
                  </a:cubicBezTo>
                  <a:cubicBezTo>
                    <a:pt x="116" y="49"/>
                    <a:pt x="106" y="33"/>
                    <a:pt x="97" y="16"/>
                  </a:cubicBezTo>
                  <a:cubicBezTo>
                    <a:pt x="96" y="15"/>
                    <a:pt x="95" y="13"/>
                    <a:pt x="93" y="11"/>
                  </a:cubicBezTo>
                  <a:lnTo>
                    <a:pt x="46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íṩḻíḍè">
              <a:extLst>
                <a:ext uri="{FF2B5EF4-FFF2-40B4-BE49-F238E27FC236}">
                  <a16:creationId xmlns:a16="http://schemas.microsoft.com/office/drawing/2014/main" id="{80A42A00-23D7-4885-8B26-C05E13B6BF7E}"/>
                </a:ext>
              </a:extLst>
            </p:cNvPr>
            <p:cNvSpPr/>
            <p:nvPr/>
          </p:nvSpPr>
          <p:spPr bwMode="auto">
            <a:xfrm>
              <a:off x="5572513" y="2985288"/>
              <a:ext cx="142081" cy="831523"/>
            </a:xfrm>
            <a:custGeom>
              <a:avLst/>
              <a:gdLst>
                <a:gd name="T0" fmla="*/ 59 w 59"/>
                <a:gd name="T1" fmla="*/ 344 h 344"/>
                <a:gd name="T2" fmla="*/ 3 w 59"/>
                <a:gd name="T3" fmla="*/ 344 h 344"/>
                <a:gd name="T4" fmla="*/ 3 w 59"/>
                <a:gd name="T5" fmla="*/ 343 h 344"/>
                <a:gd name="T6" fmla="*/ 3 w 59"/>
                <a:gd name="T7" fmla="*/ 147 h 344"/>
                <a:gd name="T8" fmla="*/ 3 w 59"/>
                <a:gd name="T9" fmla="*/ 146 h 344"/>
                <a:gd name="T10" fmla="*/ 15 w 59"/>
                <a:gd name="T11" fmla="*/ 22 h 344"/>
                <a:gd name="T12" fmla="*/ 15 w 59"/>
                <a:gd name="T13" fmla="*/ 22 h 344"/>
                <a:gd name="T14" fmla="*/ 17 w 59"/>
                <a:gd name="T15" fmla="*/ 17 h 344"/>
                <a:gd name="T16" fmla="*/ 40 w 59"/>
                <a:gd name="T17" fmla="*/ 9 h 344"/>
                <a:gd name="T18" fmla="*/ 59 w 59"/>
                <a:gd name="T19" fmla="*/ 34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344">
                  <a:moveTo>
                    <a:pt x="59" y="344"/>
                  </a:moveTo>
                  <a:cubicBezTo>
                    <a:pt x="3" y="344"/>
                    <a:pt x="3" y="344"/>
                    <a:pt x="3" y="344"/>
                  </a:cubicBezTo>
                  <a:cubicBezTo>
                    <a:pt x="3" y="344"/>
                    <a:pt x="3" y="343"/>
                    <a:pt x="3" y="343"/>
                  </a:cubicBezTo>
                  <a:cubicBezTo>
                    <a:pt x="3" y="331"/>
                    <a:pt x="0" y="234"/>
                    <a:pt x="3" y="147"/>
                  </a:cubicBezTo>
                  <a:cubicBezTo>
                    <a:pt x="3" y="147"/>
                    <a:pt x="3" y="147"/>
                    <a:pt x="3" y="146"/>
                  </a:cubicBezTo>
                  <a:cubicBezTo>
                    <a:pt x="5" y="94"/>
                    <a:pt x="8" y="45"/>
                    <a:pt x="15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6" y="20"/>
                    <a:pt x="16" y="18"/>
                    <a:pt x="17" y="17"/>
                  </a:cubicBezTo>
                  <a:cubicBezTo>
                    <a:pt x="17" y="17"/>
                    <a:pt x="38" y="0"/>
                    <a:pt x="40" y="9"/>
                  </a:cubicBezTo>
                  <a:cubicBezTo>
                    <a:pt x="41" y="17"/>
                    <a:pt x="48" y="287"/>
                    <a:pt x="59" y="344"/>
                  </a:cubicBezTo>
                  <a:close/>
                </a:path>
              </a:pathLst>
            </a:custGeom>
            <a:gradFill>
              <a:gsLst>
                <a:gs pos="22000">
                  <a:srgbClr val="4370A3"/>
                </a:gs>
                <a:gs pos="100000">
                  <a:srgbClr val="68AFFD"/>
                </a:gs>
              </a:gsLst>
              <a:lin ang="19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ïŝlîďé">
              <a:extLst>
                <a:ext uri="{FF2B5EF4-FFF2-40B4-BE49-F238E27FC236}">
                  <a16:creationId xmlns:a16="http://schemas.microsoft.com/office/drawing/2014/main" id="{6F981784-7746-42FF-8C2F-8484524E6DCC}"/>
                </a:ext>
              </a:extLst>
            </p:cNvPr>
            <p:cNvSpPr/>
            <p:nvPr/>
          </p:nvSpPr>
          <p:spPr bwMode="auto">
            <a:xfrm>
              <a:off x="6172281" y="3012074"/>
              <a:ext cx="157221" cy="811726"/>
            </a:xfrm>
            <a:custGeom>
              <a:avLst/>
              <a:gdLst>
                <a:gd name="T0" fmla="*/ 0 w 65"/>
                <a:gd name="T1" fmla="*/ 336 h 336"/>
                <a:gd name="T2" fmla="*/ 55 w 65"/>
                <a:gd name="T3" fmla="*/ 336 h 336"/>
                <a:gd name="T4" fmla="*/ 55 w 65"/>
                <a:gd name="T5" fmla="*/ 335 h 336"/>
                <a:gd name="T6" fmla="*/ 58 w 65"/>
                <a:gd name="T7" fmla="*/ 9 h 336"/>
                <a:gd name="T8" fmla="*/ 41 w 65"/>
                <a:gd name="T9" fmla="*/ 37 h 336"/>
                <a:gd name="T10" fmla="*/ 0 w 65"/>
                <a:gd name="T1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36">
                  <a:moveTo>
                    <a:pt x="0" y="336"/>
                  </a:moveTo>
                  <a:cubicBezTo>
                    <a:pt x="55" y="336"/>
                    <a:pt x="55" y="336"/>
                    <a:pt x="55" y="336"/>
                  </a:cubicBezTo>
                  <a:cubicBezTo>
                    <a:pt x="55" y="336"/>
                    <a:pt x="55" y="335"/>
                    <a:pt x="55" y="335"/>
                  </a:cubicBezTo>
                  <a:cubicBezTo>
                    <a:pt x="56" y="323"/>
                    <a:pt x="65" y="32"/>
                    <a:pt x="58" y="9"/>
                  </a:cubicBezTo>
                  <a:cubicBezTo>
                    <a:pt x="58" y="9"/>
                    <a:pt x="48" y="0"/>
                    <a:pt x="41" y="37"/>
                  </a:cubicBezTo>
                  <a:cubicBezTo>
                    <a:pt x="39" y="45"/>
                    <a:pt x="11" y="279"/>
                    <a:pt x="0" y="336"/>
                  </a:cubicBezTo>
                  <a:close/>
                </a:path>
              </a:pathLst>
            </a:custGeom>
            <a:gradFill>
              <a:gsLst>
                <a:gs pos="22000">
                  <a:srgbClr val="4370A3"/>
                </a:gs>
                <a:gs pos="100000">
                  <a:srgbClr val="68AFFD"/>
                </a:gs>
              </a:gsLst>
              <a:lin ang="19200000" scaled="0"/>
            </a:gra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îś1íde">
              <a:extLst>
                <a:ext uri="{FF2B5EF4-FFF2-40B4-BE49-F238E27FC236}">
                  <a16:creationId xmlns:a16="http://schemas.microsoft.com/office/drawing/2014/main" id="{EB42E0B1-85B1-49A3-80CB-EF31D89159A5}"/>
                </a:ext>
              </a:extLst>
            </p:cNvPr>
            <p:cNvSpPr/>
            <p:nvPr/>
          </p:nvSpPr>
          <p:spPr bwMode="auto">
            <a:xfrm>
              <a:off x="7135405" y="2440256"/>
              <a:ext cx="276010" cy="248060"/>
            </a:xfrm>
            <a:custGeom>
              <a:avLst/>
              <a:gdLst>
                <a:gd name="T0" fmla="*/ 0 w 237"/>
                <a:gd name="T1" fmla="*/ 74 h 213"/>
                <a:gd name="T2" fmla="*/ 152 w 237"/>
                <a:gd name="T3" fmla="*/ 0 h 213"/>
                <a:gd name="T4" fmla="*/ 154 w 237"/>
                <a:gd name="T5" fmla="*/ 33 h 213"/>
                <a:gd name="T6" fmla="*/ 191 w 237"/>
                <a:gd name="T7" fmla="*/ 49 h 213"/>
                <a:gd name="T8" fmla="*/ 237 w 237"/>
                <a:gd name="T9" fmla="*/ 124 h 213"/>
                <a:gd name="T10" fmla="*/ 65 w 237"/>
                <a:gd name="T11" fmla="*/ 213 h 213"/>
                <a:gd name="T12" fmla="*/ 11 w 237"/>
                <a:gd name="T13" fmla="*/ 116 h 213"/>
                <a:gd name="T14" fmla="*/ 21 w 237"/>
                <a:gd name="T15" fmla="*/ 85 h 213"/>
                <a:gd name="T16" fmla="*/ 0 w 237"/>
                <a:gd name="T17" fmla="*/ 7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7" h="213">
                  <a:moveTo>
                    <a:pt x="0" y="74"/>
                  </a:moveTo>
                  <a:lnTo>
                    <a:pt x="152" y="0"/>
                  </a:lnTo>
                  <a:lnTo>
                    <a:pt x="154" y="33"/>
                  </a:lnTo>
                  <a:lnTo>
                    <a:pt x="191" y="49"/>
                  </a:lnTo>
                  <a:lnTo>
                    <a:pt x="237" y="124"/>
                  </a:lnTo>
                  <a:lnTo>
                    <a:pt x="65" y="213"/>
                  </a:lnTo>
                  <a:lnTo>
                    <a:pt x="11" y="116"/>
                  </a:lnTo>
                  <a:lnTo>
                    <a:pt x="21" y="85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rgbClr val="68AFFD">
                <a:alpha val="5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202812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4543698-7AF0-4CF0-826D-102AAF3FDE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字符串 </a:t>
            </a:r>
            <a:r>
              <a:rPr lang="en-US" altLang="zh-CN" dirty="0"/>
              <a:t>str and String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DCC3556-7A1C-4FF1-8EFC-413FB145F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月泉的博客  </a:t>
            </a:r>
            <a:r>
              <a:rPr lang="en-US" altLang="zh-CN" dirty="0">
                <a:cs typeface="+mn-ea"/>
                <a:sym typeface="+mn-lt"/>
              </a:rPr>
              <a:t>www.lunaspring.com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DE225CE-790D-4302-9323-4379855E9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A0FB87A-23D0-4B1F-BB0C-E72AB9AD8E41}"/>
              </a:ext>
            </a:extLst>
          </p:cNvPr>
          <p:cNvSpPr txBox="1"/>
          <p:nvPr/>
        </p:nvSpPr>
        <p:spPr>
          <a:xfrm>
            <a:off x="669924" y="2003356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字符串表示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6C4899C6-93B9-4DC3-9C26-E7C5A0E12176}"/>
              </a:ext>
            </a:extLst>
          </p:cNvPr>
          <p:cNvSpPr txBox="1"/>
          <p:nvPr/>
        </p:nvSpPr>
        <p:spPr>
          <a:xfrm>
            <a:off x="693007" y="2593255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字符串字节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D08603E-4757-4203-8D62-CAB61FF983F0}"/>
              </a:ext>
            </a:extLst>
          </p:cNvPr>
          <p:cNvSpPr txBox="1"/>
          <p:nvPr/>
        </p:nvSpPr>
        <p:spPr>
          <a:xfrm>
            <a:off x="693007" y="1331362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概述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73284798-466E-4661-9CCB-6F00B7443853}"/>
              </a:ext>
            </a:extLst>
          </p:cNvPr>
          <p:cNvSpPr txBox="1"/>
          <p:nvPr/>
        </p:nvSpPr>
        <p:spPr>
          <a:xfrm>
            <a:off x="693007" y="3183154"/>
            <a:ext cx="34034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str and String</a:t>
            </a:r>
            <a:r>
              <a:rPr lang="zh-CN" altLang="en-US" dirty="0"/>
              <a:t>字符串的内存视图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39DCB925-81B2-47E8-9D42-4B46C3C8AE48}"/>
              </a:ext>
            </a:extLst>
          </p:cNvPr>
          <p:cNvSpPr txBox="1"/>
          <p:nvPr/>
        </p:nvSpPr>
        <p:spPr>
          <a:xfrm>
            <a:off x="693007" y="3855148"/>
            <a:ext cx="3304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常用操作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4771805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40717F0-6BDD-45BF-B17E-308CA4771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字符串常用操作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B36F090-7226-40AB-8DE5-469470A025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月泉的博客  </a:t>
            </a:r>
            <a:r>
              <a:rPr lang="en-US" altLang="zh-CN" dirty="0">
                <a:cs typeface="+mn-ea"/>
                <a:sym typeface="+mn-lt"/>
              </a:rPr>
              <a:t>www.lunaspring.com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5FF2B10-96FC-48C2-9436-BFC24EEE2B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58FA34E5-F2BF-4875-A4C2-D00E0AD22F94}"/>
              </a:ext>
            </a:extLst>
          </p:cNvPr>
          <p:cNvSpPr txBox="1"/>
          <p:nvPr/>
        </p:nvSpPr>
        <p:spPr>
          <a:xfrm>
            <a:off x="829559" y="1291472"/>
            <a:ext cx="1051088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tring::new(str)</a:t>
            </a:r>
          </a:p>
          <a:p>
            <a:r>
              <a:rPr lang="en-US" altLang="zh-CN" dirty="0"/>
              <a:t>String::</a:t>
            </a:r>
            <a:r>
              <a:rPr lang="en-US" altLang="zh-CN" dirty="0" err="1"/>
              <a:t>with_capacity</a:t>
            </a:r>
            <a:r>
              <a:rPr lang="en-US" altLang="zh-CN" dirty="0"/>
              <a:t>(n)</a:t>
            </a:r>
          </a:p>
          <a:p>
            <a:r>
              <a:rPr lang="en-US" altLang="zh-CN" dirty="0" err="1"/>
              <a:t>iter.collect</a:t>
            </a:r>
            <a:r>
              <a:rPr lang="en-US" altLang="zh-CN" dirty="0"/>
              <a:t>()</a:t>
            </a:r>
          </a:p>
          <a:p>
            <a:r>
              <a:rPr lang="en-US" altLang="zh-CN" dirty="0" err="1"/>
              <a:t>len</a:t>
            </a:r>
            <a:r>
              <a:rPr lang="en-US" altLang="zh-CN" dirty="0"/>
              <a:t>()</a:t>
            </a:r>
          </a:p>
          <a:p>
            <a:r>
              <a:rPr lang="en-US" altLang="zh-CN" dirty="0" err="1"/>
              <a:t>is_empty</a:t>
            </a:r>
            <a:r>
              <a:rPr lang="en-US" altLang="zh-CN" dirty="0"/>
              <a:t>()</a:t>
            </a:r>
          </a:p>
          <a:p>
            <a:r>
              <a:rPr lang="en-US" altLang="zh-CN" dirty="0"/>
              <a:t>slice[range]</a:t>
            </a:r>
          </a:p>
          <a:p>
            <a:r>
              <a:rPr lang="en-US" altLang="zh-CN" dirty="0"/>
              <a:t>push(</a:t>
            </a:r>
            <a:r>
              <a:rPr lang="en-US" altLang="zh-CN" dirty="0" err="1"/>
              <a:t>ch</a:t>
            </a:r>
            <a:r>
              <a:rPr lang="en-US" altLang="zh-CN" dirty="0"/>
              <a:t>)</a:t>
            </a:r>
          </a:p>
          <a:p>
            <a:r>
              <a:rPr lang="en-US" altLang="zh-CN" dirty="0" err="1"/>
              <a:t>push_str</a:t>
            </a:r>
            <a:r>
              <a:rPr lang="en-US" altLang="zh-CN" dirty="0"/>
              <a:t>(slice)</a:t>
            </a:r>
          </a:p>
          <a:p>
            <a:r>
              <a:rPr lang="en-US" altLang="zh-CN" dirty="0"/>
              <a:t>extend(</a:t>
            </a:r>
            <a:r>
              <a:rPr lang="en-US" altLang="zh-CN" dirty="0" err="1"/>
              <a:t>iter</a:t>
            </a:r>
            <a:r>
              <a:rPr lang="en-US" altLang="zh-CN" dirty="0"/>
              <a:t>)</a:t>
            </a:r>
          </a:p>
          <a:p>
            <a:r>
              <a:rPr lang="en-US" altLang="zh-CN" dirty="0"/>
              <a:t>insert(</a:t>
            </a:r>
            <a:r>
              <a:rPr lang="en-US" altLang="zh-CN" dirty="0" err="1"/>
              <a:t>i</a:t>
            </a:r>
            <a:r>
              <a:rPr lang="en-US" altLang="zh-CN" dirty="0"/>
              <a:t>, </a:t>
            </a:r>
            <a:r>
              <a:rPr lang="en-US" altLang="zh-CN" dirty="0" err="1"/>
              <a:t>ch</a:t>
            </a:r>
            <a:r>
              <a:rPr lang="en-US" altLang="zh-CN" dirty="0"/>
              <a:t>)</a:t>
            </a:r>
          </a:p>
          <a:p>
            <a:r>
              <a:rPr lang="en-US" altLang="zh-CN" dirty="0" err="1"/>
              <a:t>insert_str</a:t>
            </a:r>
            <a:r>
              <a:rPr lang="en-US" altLang="zh-CN" dirty="0"/>
              <a:t>(</a:t>
            </a:r>
            <a:r>
              <a:rPr lang="en-US" altLang="zh-CN" dirty="0" err="1"/>
              <a:t>i</a:t>
            </a:r>
            <a:r>
              <a:rPr lang="en-US" altLang="zh-CN" dirty="0"/>
              <a:t>, slice)</a:t>
            </a:r>
          </a:p>
          <a:p>
            <a:r>
              <a:rPr lang="en-US" altLang="zh-CN" dirty="0"/>
              <a:t>clear</a:t>
            </a:r>
          </a:p>
          <a:p>
            <a:r>
              <a:rPr lang="en-US" altLang="zh-CN" dirty="0"/>
              <a:t>pop</a:t>
            </a:r>
          </a:p>
          <a:p>
            <a:r>
              <a:rPr lang="en-US" altLang="zh-CN" dirty="0"/>
              <a:t>find</a:t>
            </a:r>
          </a:p>
          <a:p>
            <a:r>
              <a:rPr lang="en-US" altLang="zh-CN" dirty="0"/>
              <a:t>…………………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992882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THINKCELLUNDODONOTDELETE" val="0"/>
  <p:tag name="ISLIDE.THEME" val="b7304fe2-7357-4c99-a87b-09b8c7a3746a"/>
  <p:tag name="ISLIDE.GUIDESSETTING" val="{&quot;Id&quot;:null,&quot;Name&quot;:&quot;无&quot;,&quot;HeaderHeight&quot;:0.0,&quot;FooterHeight&quot;:0.0,&quot;SideMargin&quot;:0.0,&quot;TopMargin&quot;:0.0,&quot;BottomMargin&quot;:0.0,&quot;IntervalMargin&quot;:0.0,&quot;SettingType&quot;:&quot;System&quot;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f58f329-0b8f-42c6-8d02-594949b0590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8205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36616922-28ac-4920-92ce-368fdc1ddbd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eeadca2-d3bc-43bc-9fa2-52366789f17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97f03a18-3787-4956-a197-1a85cd22bdb4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35C6E"/>
      </a:accent1>
      <a:accent2>
        <a:srgbClr val="38D4BA"/>
      </a:accent2>
      <a:accent3>
        <a:srgbClr val="01ACE1"/>
      </a:accent3>
      <a:accent4>
        <a:srgbClr val="F4BB15"/>
      </a:accent4>
      <a:accent5>
        <a:srgbClr val="F55D74"/>
      </a:accent5>
      <a:accent6>
        <a:srgbClr val="B2B2B2"/>
      </a:accent6>
      <a:hlink>
        <a:srgbClr val="4472C4"/>
      </a:hlink>
      <a:folHlink>
        <a:srgbClr val="BFBFBF"/>
      </a:folHlink>
    </a:clrScheme>
    <a:fontScheme name="spkyg5zx">
      <a:majorFont>
        <a:latin typeface=""/>
        <a:ea typeface="微软雅黑"/>
        <a:cs typeface=""/>
      </a:majorFont>
      <a:minorFont>
        <a:latin typeface="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5C6E"/>
    </a:accent1>
    <a:accent2>
      <a:srgbClr val="38D4BA"/>
    </a:accent2>
    <a:accent3>
      <a:srgbClr val="01ACE1"/>
    </a:accent3>
    <a:accent4>
      <a:srgbClr val="F4BB15"/>
    </a:accent4>
    <a:accent5>
      <a:srgbClr val="F55D74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5C6E"/>
    </a:accent1>
    <a:accent2>
      <a:srgbClr val="38D4BA"/>
    </a:accent2>
    <a:accent3>
      <a:srgbClr val="01ACE1"/>
    </a:accent3>
    <a:accent4>
      <a:srgbClr val="F4BB15"/>
    </a:accent4>
    <a:accent5>
      <a:srgbClr val="F55D74"/>
    </a:accent5>
    <a:accent6>
      <a:srgbClr val="B2B2B2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5C6E"/>
    </a:accent1>
    <a:accent2>
      <a:srgbClr val="38D4BA"/>
    </a:accent2>
    <a:accent3>
      <a:srgbClr val="01ACE1"/>
    </a:accent3>
    <a:accent4>
      <a:srgbClr val="F4BB15"/>
    </a:accent4>
    <a:accent5>
      <a:srgbClr val="F55D74"/>
    </a:accent5>
    <a:accent6>
      <a:srgbClr val="B2B2B2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899</TotalTime>
  <Words>329</Words>
  <Application>Microsoft Office PowerPoint</Application>
  <PresentationFormat>宽屏</PresentationFormat>
  <Paragraphs>85</Paragraphs>
  <Slides>1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6" baseType="lpstr">
      <vt:lpstr>Open Sans</vt:lpstr>
      <vt:lpstr>等线</vt:lpstr>
      <vt:lpstr>Arial</vt:lpstr>
      <vt:lpstr>Calibri</vt:lpstr>
      <vt:lpstr>主题5</vt:lpstr>
      <vt:lpstr>think-cell Slide</vt:lpstr>
      <vt:lpstr>跟我学Rust  第二节——Rust数据类型</vt:lpstr>
      <vt:lpstr>PowerPoint 演示文稿</vt:lpstr>
      <vt:lpstr>变量声明</vt:lpstr>
      <vt:lpstr>基本数据类型</vt:lpstr>
      <vt:lpstr>复合数据类型</vt:lpstr>
      <vt:lpstr>切片</vt:lpstr>
      <vt:lpstr>枚举</vt:lpstr>
      <vt:lpstr>字符串 str and String</vt:lpstr>
      <vt:lpstr>字符串常用操作</vt:lpstr>
      <vt:lpstr>THANKS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uequan1997@gmail.com</cp:lastModifiedBy>
  <cp:revision>98</cp:revision>
  <cp:lastPrinted>2019-04-29T16:00:00Z</cp:lastPrinted>
  <dcterms:created xsi:type="dcterms:W3CDTF">2019-04-29T16:00:00Z</dcterms:created>
  <dcterms:modified xsi:type="dcterms:W3CDTF">2019-07-28T13:06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